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5" r:id="rId6"/>
    <p:sldMasterId id="2147483667" r:id="rId7"/>
    <p:sldMasterId id="2147483669" r:id="rId8"/>
  </p:sldMasterIdLst>
  <p:notesMasterIdLst>
    <p:notesMasterId r:id="rId15"/>
  </p:notesMasterIdLst>
  <p:sldIdLst>
    <p:sldId id="256" r:id="rId9"/>
    <p:sldId id="1174" r:id="rId10"/>
    <p:sldId id="1171" r:id="rId11"/>
    <p:sldId id="1238" r:id="rId12"/>
    <p:sldId id="1240" r:id="rId13"/>
    <p:sldId id="121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FADA"/>
    <a:srgbClr val="8EFA00"/>
    <a:srgbClr val="0000CC"/>
    <a:srgbClr val="D3F3F4"/>
    <a:srgbClr val="52D28D"/>
    <a:srgbClr val="009193"/>
    <a:srgbClr val="9437FF"/>
    <a:srgbClr val="F7FDE6"/>
    <a:srgbClr val="000000"/>
    <a:srgbClr val="FFE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7D5D9D-FB30-1049-9EDF-5040921CD21F}" v="154" vWet="156" dt="2023-10-17T02:33:56.972"/>
    <p1510:client id="{77DD9E04-9600-49FB-BF39-C19F9FCC637B}" v="62" dt="2023-10-17T02:37:34.130"/>
    <p1510:client id="{F1A3357A-C272-41FE-0DCB-BD8F82117101}" v="4" dt="2023-10-16T08:21:33.311"/>
  </p1510:revLst>
</p1510:revInfo>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83"/>
        <p:guide pos="3840"/>
        <p:guide pos="211"/>
        <p:guide pos="7469"/>
        <p:guide orient="horz" pos="1026"/>
        <p:guide orient="horz" pos="4133"/>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y Ann Magadia" userId="1d9742bb-e3f4-43f2-905f-812d8d1d8b7c" providerId="ADAL" clId="{77DD9E04-9600-49FB-BF39-C19F9FCC637B}"/>
    <pc:docChg chg="modSld modMainMaster">
      <pc:chgData name="Mary Ann Magadia" userId="1d9742bb-e3f4-43f2-905f-812d8d1d8b7c" providerId="ADAL" clId="{77DD9E04-9600-49FB-BF39-C19F9FCC637B}" dt="2023-10-17T02:37:34.130" v="87" actId="14100"/>
      <pc:docMkLst>
        <pc:docMk/>
      </pc:docMkLst>
      <pc:sldChg chg="modSp mod">
        <pc:chgData name="Mary Ann Magadia" userId="1d9742bb-e3f4-43f2-905f-812d8d1d8b7c" providerId="ADAL" clId="{77DD9E04-9600-49FB-BF39-C19F9FCC637B}" dt="2023-10-17T02:37:11.123" v="82" actId="1076"/>
        <pc:sldMkLst>
          <pc:docMk/>
          <pc:sldMk cId="972413573" sldId="1171"/>
        </pc:sldMkLst>
        <pc:spChg chg="mod">
          <ac:chgData name="Mary Ann Magadia" userId="1d9742bb-e3f4-43f2-905f-812d8d1d8b7c" providerId="ADAL" clId="{77DD9E04-9600-49FB-BF39-C19F9FCC637B}" dt="2023-10-17T02:37:11.123" v="82" actId="1076"/>
          <ac:spMkLst>
            <pc:docMk/>
            <pc:sldMk cId="972413573" sldId="1171"/>
            <ac:spMk id="18" creationId="{D6495175-6B10-419E-AC29-A3366F24BDCF}"/>
          </ac:spMkLst>
        </pc:spChg>
        <pc:spChg chg="mod">
          <ac:chgData name="Mary Ann Magadia" userId="1d9742bb-e3f4-43f2-905f-812d8d1d8b7c" providerId="ADAL" clId="{77DD9E04-9600-49FB-BF39-C19F9FCC637B}" dt="2023-10-17T02:32:40.513" v="30" actId="14100"/>
          <ac:spMkLst>
            <pc:docMk/>
            <pc:sldMk cId="972413573" sldId="1171"/>
            <ac:spMk id="28" creationId="{3AAD10DF-2654-504A-B564-49C6FF30881C}"/>
          </ac:spMkLst>
        </pc:spChg>
        <pc:spChg chg="mod">
          <ac:chgData name="Mary Ann Magadia" userId="1d9742bb-e3f4-43f2-905f-812d8d1d8b7c" providerId="ADAL" clId="{77DD9E04-9600-49FB-BF39-C19F9FCC637B}" dt="2023-10-17T02:32:54.187" v="34" actId="1076"/>
          <ac:spMkLst>
            <pc:docMk/>
            <pc:sldMk cId="972413573" sldId="1171"/>
            <ac:spMk id="29" creationId="{BE1EEFF4-23F8-7840-8A33-C484E948F2CE}"/>
          </ac:spMkLst>
        </pc:spChg>
        <pc:spChg chg="mod">
          <ac:chgData name="Mary Ann Magadia" userId="1d9742bb-e3f4-43f2-905f-812d8d1d8b7c" providerId="ADAL" clId="{77DD9E04-9600-49FB-BF39-C19F9FCC637B}" dt="2023-10-17T02:36:56.932" v="78" actId="6549"/>
          <ac:spMkLst>
            <pc:docMk/>
            <pc:sldMk cId="972413573" sldId="1171"/>
            <ac:spMk id="31" creationId="{41B20CBC-8DDD-E147-A56A-588CE8212C0F}"/>
          </ac:spMkLst>
        </pc:spChg>
        <pc:spChg chg="mod">
          <ac:chgData name="Mary Ann Magadia" userId="1d9742bb-e3f4-43f2-905f-812d8d1d8b7c" providerId="ADAL" clId="{77DD9E04-9600-49FB-BF39-C19F9FCC637B}" dt="2023-10-17T02:32:59.227" v="35" actId="14100"/>
          <ac:spMkLst>
            <pc:docMk/>
            <pc:sldMk cId="972413573" sldId="1171"/>
            <ac:spMk id="33" creationId="{211FA308-C099-3344-B611-5EE94DEADDAC}"/>
          </ac:spMkLst>
        </pc:spChg>
        <pc:spChg chg="mod">
          <ac:chgData name="Mary Ann Magadia" userId="1d9742bb-e3f4-43f2-905f-812d8d1d8b7c" providerId="ADAL" clId="{77DD9E04-9600-49FB-BF39-C19F9FCC637B}" dt="2023-10-17T02:33:10.740" v="39" actId="1076"/>
          <ac:spMkLst>
            <pc:docMk/>
            <pc:sldMk cId="972413573" sldId="1171"/>
            <ac:spMk id="34" creationId="{9B593572-BEE6-4349-BFD5-D72BA68E7FB0}"/>
          </ac:spMkLst>
        </pc:spChg>
        <pc:spChg chg="mod">
          <ac:chgData name="Mary Ann Magadia" userId="1d9742bb-e3f4-43f2-905f-812d8d1d8b7c" providerId="ADAL" clId="{77DD9E04-9600-49FB-BF39-C19F9FCC637B}" dt="2023-10-17T02:32:38.044" v="29" actId="14100"/>
          <ac:spMkLst>
            <pc:docMk/>
            <pc:sldMk cId="972413573" sldId="1171"/>
            <ac:spMk id="46" creationId="{7DC5AE39-D126-7043-9450-BB97914B5D4C}"/>
          </ac:spMkLst>
        </pc:spChg>
        <pc:spChg chg="mod">
          <ac:chgData name="Mary Ann Magadia" userId="1d9742bb-e3f4-43f2-905f-812d8d1d8b7c" providerId="ADAL" clId="{77DD9E04-9600-49FB-BF39-C19F9FCC637B}" dt="2023-10-17T02:33:21.915" v="41" actId="6549"/>
          <ac:spMkLst>
            <pc:docMk/>
            <pc:sldMk cId="972413573" sldId="1171"/>
            <ac:spMk id="48" creationId="{E0BF8EBF-AB4F-334B-A4A4-296D53BC2197}"/>
          </ac:spMkLst>
        </pc:spChg>
        <pc:spChg chg="mod">
          <ac:chgData name="Mary Ann Magadia" userId="1d9742bb-e3f4-43f2-905f-812d8d1d8b7c" providerId="ADAL" clId="{77DD9E04-9600-49FB-BF39-C19F9FCC637B}" dt="2023-10-17T02:33:34.540" v="45" actId="14100"/>
          <ac:spMkLst>
            <pc:docMk/>
            <pc:sldMk cId="972413573" sldId="1171"/>
            <ac:spMk id="49" creationId="{15461027-70AD-814A-A975-51A76FFEB655}"/>
          </ac:spMkLst>
        </pc:spChg>
        <pc:spChg chg="mod">
          <ac:chgData name="Mary Ann Magadia" userId="1d9742bb-e3f4-43f2-905f-812d8d1d8b7c" providerId="ADAL" clId="{77DD9E04-9600-49FB-BF39-C19F9FCC637B}" dt="2023-10-17T02:34:15.660" v="46" actId="14100"/>
          <ac:spMkLst>
            <pc:docMk/>
            <pc:sldMk cId="972413573" sldId="1171"/>
            <ac:spMk id="50" creationId="{6FAEC455-B152-B446-9AA6-66918A2A4C46}"/>
          </ac:spMkLst>
        </pc:spChg>
        <pc:spChg chg="mod">
          <ac:chgData name="Mary Ann Magadia" userId="1d9742bb-e3f4-43f2-905f-812d8d1d8b7c" providerId="ADAL" clId="{77DD9E04-9600-49FB-BF39-C19F9FCC637B}" dt="2023-10-17T02:33:29.908" v="44" actId="14100"/>
          <ac:spMkLst>
            <pc:docMk/>
            <pc:sldMk cId="972413573" sldId="1171"/>
            <ac:spMk id="52" creationId="{83597922-2EB4-2A41-9E25-AB52B7E6AF3F}"/>
          </ac:spMkLst>
        </pc:spChg>
      </pc:sldChg>
      <pc:sldChg chg="addSp delSp modSp mod">
        <pc:chgData name="Mary Ann Magadia" userId="1d9742bb-e3f4-43f2-905f-812d8d1d8b7c" providerId="ADAL" clId="{77DD9E04-9600-49FB-BF39-C19F9FCC637B}" dt="2023-10-17T01:38:20.812" v="27" actId="1076"/>
        <pc:sldMkLst>
          <pc:docMk/>
          <pc:sldMk cId="3947124730" sldId="1174"/>
        </pc:sldMkLst>
        <pc:spChg chg="mod">
          <ac:chgData name="Mary Ann Magadia" userId="1d9742bb-e3f4-43f2-905f-812d8d1d8b7c" providerId="ADAL" clId="{77DD9E04-9600-49FB-BF39-C19F9FCC637B}" dt="2023-10-17T01:37:59.957" v="24" actId="165"/>
          <ac:spMkLst>
            <pc:docMk/>
            <pc:sldMk cId="3947124730" sldId="1174"/>
            <ac:spMk id="5" creationId="{292100B5-7FD0-45DB-8F77-652F602B7A9A}"/>
          </ac:spMkLst>
        </pc:spChg>
        <pc:spChg chg="mod">
          <ac:chgData name="Mary Ann Magadia" userId="1d9742bb-e3f4-43f2-905f-812d8d1d8b7c" providerId="ADAL" clId="{77DD9E04-9600-49FB-BF39-C19F9FCC637B}" dt="2023-10-17T01:37:59.957" v="24" actId="165"/>
          <ac:spMkLst>
            <pc:docMk/>
            <pc:sldMk cId="3947124730" sldId="1174"/>
            <ac:spMk id="11" creationId="{CA9DD8AE-4246-42A6-B4D6-893B59C880F3}"/>
          </ac:spMkLst>
        </pc:spChg>
        <pc:spChg chg="mod">
          <ac:chgData name="Mary Ann Magadia" userId="1d9742bb-e3f4-43f2-905f-812d8d1d8b7c" providerId="ADAL" clId="{77DD9E04-9600-49FB-BF39-C19F9FCC637B}" dt="2023-10-17T01:37:59.957" v="24" actId="165"/>
          <ac:spMkLst>
            <pc:docMk/>
            <pc:sldMk cId="3947124730" sldId="1174"/>
            <ac:spMk id="12" creationId="{BEE827BF-8AF4-4685-9D0E-3A048E4AC7D5}"/>
          </ac:spMkLst>
        </pc:spChg>
        <pc:spChg chg="mod">
          <ac:chgData name="Mary Ann Magadia" userId="1d9742bb-e3f4-43f2-905f-812d8d1d8b7c" providerId="ADAL" clId="{77DD9E04-9600-49FB-BF39-C19F9FCC637B}" dt="2023-10-17T01:37:59.957" v="24" actId="165"/>
          <ac:spMkLst>
            <pc:docMk/>
            <pc:sldMk cId="3947124730" sldId="1174"/>
            <ac:spMk id="13" creationId="{2E2294BE-0748-46C8-A138-58C9198B64CC}"/>
          </ac:spMkLst>
        </pc:spChg>
        <pc:spChg chg="mod">
          <ac:chgData name="Mary Ann Magadia" userId="1d9742bb-e3f4-43f2-905f-812d8d1d8b7c" providerId="ADAL" clId="{77DD9E04-9600-49FB-BF39-C19F9FCC637B}" dt="2023-10-17T01:37:59.957" v="24" actId="165"/>
          <ac:spMkLst>
            <pc:docMk/>
            <pc:sldMk cId="3947124730" sldId="1174"/>
            <ac:spMk id="14" creationId="{8F02E2A6-07FE-4481-9B2E-5E93EC2F691A}"/>
          </ac:spMkLst>
        </pc:spChg>
        <pc:spChg chg="mod">
          <ac:chgData name="Mary Ann Magadia" userId="1d9742bb-e3f4-43f2-905f-812d8d1d8b7c" providerId="ADAL" clId="{77DD9E04-9600-49FB-BF39-C19F9FCC637B}" dt="2023-10-17T01:37:59.957" v="24" actId="165"/>
          <ac:spMkLst>
            <pc:docMk/>
            <pc:sldMk cId="3947124730" sldId="1174"/>
            <ac:spMk id="15" creationId="{E8E81F50-52EE-47C1-9C57-B7033300D4F5}"/>
          </ac:spMkLst>
        </pc:spChg>
        <pc:spChg chg="mod">
          <ac:chgData name="Mary Ann Magadia" userId="1d9742bb-e3f4-43f2-905f-812d8d1d8b7c" providerId="ADAL" clId="{77DD9E04-9600-49FB-BF39-C19F9FCC637B}" dt="2023-10-17T01:37:59.957" v="24" actId="165"/>
          <ac:spMkLst>
            <pc:docMk/>
            <pc:sldMk cId="3947124730" sldId="1174"/>
            <ac:spMk id="16" creationId="{E8F17F1B-F011-418B-894C-A1F49D3860FB}"/>
          </ac:spMkLst>
        </pc:spChg>
        <pc:spChg chg="mod">
          <ac:chgData name="Mary Ann Magadia" userId="1d9742bb-e3f4-43f2-905f-812d8d1d8b7c" providerId="ADAL" clId="{77DD9E04-9600-49FB-BF39-C19F9FCC637B}" dt="2023-10-17T01:37:59.957" v="24" actId="165"/>
          <ac:spMkLst>
            <pc:docMk/>
            <pc:sldMk cId="3947124730" sldId="1174"/>
            <ac:spMk id="17" creationId="{EBB71580-06F1-4C3F-9D1C-CFD0CFFA530D}"/>
          </ac:spMkLst>
        </pc:spChg>
        <pc:spChg chg="mod">
          <ac:chgData name="Mary Ann Magadia" userId="1d9742bb-e3f4-43f2-905f-812d8d1d8b7c" providerId="ADAL" clId="{77DD9E04-9600-49FB-BF39-C19F9FCC637B}" dt="2023-10-17T01:37:59.957" v="24" actId="165"/>
          <ac:spMkLst>
            <pc:docMk/>
            <pc:sldMk cId="3947124730" sldId="1174"/>
            <ac:spMk id="18" creationId="{3BD44BB5-4467-4DBB-BB98-02C4229F1B4B}"/>
          </ac:spMkLst>
        </pc:spChg>
        <pc:spChg chg="mod">
          <ac:chgData name="Mary Ann Magadia" userId="1d9742bb-e3f4-43f2-905f-812d8d1d8b7c" providerId="ADAL" clId="{77DD9E04-9600-49FB-BF39-C19F9FCC637B}" dt="2023-10-17T01:37:59.957" v="24" actId="165"/>
          <ac:spMkLst>
            <pc:docMk/>
            <pc:sldMk cId="3947124730" sldId="1174"/>
            <ac:spMk id="19" creationId="{D3FFEF12-7BAA-40C8-841A-34275B4F326C}"/>
          </ac:spMkLst>
        </pc:spChg>
        <pc:spChg chg="mod">
          <ac:chgData name="Mary Ann Magadia" userId="1d9742bb-e3f4-43f2-905f-812d8d1d8b7c" providerId="ADAL" clId="{77DD9E04-9600-49FB-BF39-C19F9FCC637B}" dt="2023-10-17T01:37:59.957" v="24" actId="165"/>
          <ac:spMkLst>
            <pc:docMk/>
            <pc:sldMk cId="3947124730" sldId="1174"/>
            <ac:spMk id="20" creationId="{08EF2B02-2FA0-4BE7-82A7-8261326B63AE}"/>
          </ac:spMkLst>
        </pc:spChg>
        <pc:spChg chg="mod topLvl">
          <ac:chgData name="Mary Ann Magadia" userId="1d9742bb-e3f4-43f2-905f-812d8d1d8b7c" providerId="ADAL" clId="{77DD9E04-9600-49FB-BF39-C19F9FCC637B}" dt="2023-10-17T01:38:20.812" v="27" actId="1076"/>
          <ac:spMkLst>
            <pc:docMk/>
            <pc:sldMk cId="3947124730" sldId="1174"/>
            <ac:spMk id="37" creationId="{59F66E4B-D114-4016-84BD-8DF9072E8C6A}"/>
          </ac:spMkLst>
        </pc:spChg>
        <pc:spChg chg="mod">
          <ac:chgData name="Mary Ann Magadia" userId="1d9742bb-e3f4-43f2-905f-812d8d1d8b7c" providerId="ADAL" clId="{77DD9E04-9600-49FB-BF39-C19F9FCC637B}" dt="2023-10-17T01:37:36.602" v="23" actId="1076"/>
          <ac:spMkLst>
            <pc:docMk/>
            <pc:sldMk cId="3947124730" sldId="1174"/>
            <ac:spMk id="40" creationId="{49CF5EB2-7572-4601-A1B3-DE28232AB88C}"/>
          </ac:spMkLst>
        </pc:spChg>
        <pc:grpChg chg="mod topLvl">
          <ac:chgData name="Mary Ann Magadia" userId="1d9742bb-e3f4-43f2-905f-812d8d1d8b7c" providerId="ADAL" clId="{77DD9E04-9600-49FB-BF39-C19F9FCC637B}" dt="2023-10-17T01:37:59.957" v="24" actId="165"/>
          <ac:grpSpMkLst>
            <pc:docMk/>
            <pc:sldMk cId="3947124730" sldId="1174"/>
            <ac:grpSpMk id="4" creationId="{747374AD-42BA-4EA1-9370-71B77ECBE858}"/>
          </ac:grpSpMkLst>
        </pc:grpChg>
        <pc:grpChg chg="mod">
          <ac:chgData name="Mary Ann Magadia" userId="1d9742bb-e3f4-43f2-905f-812d8d1d8b7c" providerId="ADAL" clId="{77DD9E04-9600-49FB-BF39-C19F9FCC637B}" dt="2023-10-17T01:37:59.957" v="24" actId="165"/>
          <ac:grpSpMkLst>
            <pc:docMk/>
            <pc:sldMk cId="3947124730" sldId="1174"/>
            <ac:grpSpMk id="6" creationId="{11F3F715-D850-43D6-8395-114FF16D3D56}"/>
          </ac:grpSpMkLst>
        </pc:grpChg>
        <pc:grpChg chg="mod">
          <ac:chgData name="Mary Ann Magadia" userId="1d9742bb-e3f4-43f2-905f-812d8d1d8b7c" providerId="ADAL" clId="{77DD9E04-9600-49FB-BF39-C19F9FCC637B}" dt="2023-10-17T01:37:59.957" v="24" actId="165"/>
          <ac:grpSpMkLst>
            <pc:docMk/>
            <pc:sldMk cId="3947124730" sldId="1174"/>
            <ac:grpSpMk id="7" creationId="{244DCFD5-4C54-4561-90D0-4AFEE3ACF0C7}"/>
          </ac:grpSpMkLst>
        </pc:grpChg>
        <pc:grpChg chg="mod">
          <ac:chgData name="Mary Ann Magadia" userId="1d9742bb-e3f4-43f2-905f-812d8d1d8b7c" providerId="ADAL" clId="{77DD9E04-9600-49FB-BF39-C19F9FCC637B}" dt="2023-10-17T01:37:59.957" v="24" actId="165"/>
          <ac:grpSpMkLst>
            <pc:docMk/>
            <pc:sldMk cId="3947124730" sldId="1174"/>
            <ac:grpSpMk id="8" creationId="{DA1831F3-818F-49BB-9410-F32BBC3D1D42}"/>
          </ac:grpSpMkLst>
        </pc:grpChg>
        <pc:grpChg chg="mod">
          <ac:chgData name="Mary Ann Magadia" userId="1d9742bb-e3f4-43f2-905f-812d8d1d8b7c" providerId="ADAL" clId="{77DD9E04-9600-49FB-BF39-C19F9FCC637B}" dt="2023-10-17T01:37:59.957" v="24" actId="165"/>
          <ac:grpSpMkLst>
            <pc:docMk/>
            <pc:sldMk cId="3947124730" sldId="1174"/>
            <ac:grpSpMk id="9" creationId="{C77E6528-06D9-4F64-A733-4EE73FD377C3}"/>
          </ac:grpSpMkLst>
        </pc:grpChg>
        <pc:grpChg chg="mod">
          <ac:chgData name="Mary Ann Magadia" userId="1d9742bb-e3f4-43f2-905f-812d8d1d8b7c" providerId="ADAL" clId="{77DD9E04-9600-49FB-BF39-C19F9FCC637B}" dt="2023-10-17T01:37:59.957" v="24" actId="165"/>
          <ac:grpSpMkLst>
            <pc:docMk/>
            <pc:sldMk cId="3947124730" sldId="1174"/>
            <ac:grpSpMk id="10" creationId="{4CB5C9D9-09AA-4E96-BAEC-AC6BE10AA93C}"/>
          </ac:grpSpMkLst>
        </pc:grpChg>
        <pc:grpChg chg="add del mod">
          <ac:chgData name="Mary Ann Magadia" userId="1d9742bb-e3f4-43f2-905f-812d8d1d8b7c" providerId="ADAL" clId="{77DD9E04-9600-49FB-BF39-C19F9FCC637B}" dt="2023-10-17T01:37:59.957" v="24" actId="165"/>
          <ac:grpSpMkLst>
            <pc:docMk/>
            <pc:sldMk cId="3947124730" sldId="1174"/>
            <ac:grpSpMk id="21" creationId="{E41E9823-8FF9-BB7B-7C3E-D808612AE111}"/>
          </ac:grpSpMkLst>
        </pc:grpChg>
        <pc:picChg chg="mod">
          <ac:chgData name="Mary Ann Magadia" userId="1d9742bb-e3f4-43f2-905f-812d8d1d8b7c" providerId="ADAL" clId="{77DD9E04-9600-49FB-BF39-C19F9FCC637B}" dt="2023-10-17T01:37:22.516" v="19" actId="1076"/>
          <ac:picMkLst>
            <pc:docMk/>
            <pc:sldMk cId="3947124730" sldId="1174"/>
            <ac:picMk id="3" creationId="{DF1944AE-26CE-4072-ADD8-CE0E8B7A43C6}"/>
          </ac:picMkLst>
        </pc:picChg>
        <pc:picChg chg="mod">
          <ac:chgData name="Mary Ann Magadia" userId="1d9742bb-e3f4-43f2-905f-812d8d1d8b7c" providerId="ADAL" clId="{77DD9E04-9600-49FB-BF39-C19F9FCC637B}" dt="2023-10-17T01:37:59.957" v="24" actId="165"/>
          <ac:picMkLst>
            <pc:docMk/>
            <pc:sldMk cId="3947124730" sldId="1174"/>
            <ac:picMk id="22" creationId="{E2D50676-8C39-4581-B788-5F785C9B9BCB}"/>
          </ac:picMkLst>
        </pc:picChg>
        <pc:picChg chg="mod">
          <ac:chgData name="Mary Ann Magadia" userId="1d9742bb-e3f4-43f2-905f-812d8d1d8b7c" providerId="ADAL" clId="{77DD9E04-9600-49FB-BF39-C19F9FCC637B}" dt="2023-10-17T01:37:59.957" v="24" actId="165"/>
          <ac:picMkLst>
            <pc:docMk/>
            <pc:sldMk cId="3947124730" sldId="1174"/>
            <ac:picMk id="23" creationId="{4F172064-02B4-4E90-8E8A-D1C6B1AC1E80}"/>
          </ac:picMkLst>
        </pc:picChg>
        <pc:picChg chg="mod">
          <ac:chgData name="Mary Ann Magadia" userId="1d9742bb-e3f4-43f2-905f-812d8d1d8b7c" providerId="ADAL" clId="{77DD9E04-9600-49FB-BF39-C19F9FCC637B}" dt="2023-10-17T01:37:59.957" v="24" actId="165"/>
          <ac:picMkLst>
            <pc:docMk/>
            <pc:sldMk cId="3947124730" sldId="1174"/>
            <ac:picMk id="24" creationId="{F7BCBB20-CC87-4B97-8AF5-3DACB824CC8C}"/>
          </ac:picMkLst>
        </pc:picChg>
        <pc:picChg chg="mod">
          <ac:chgData name="Mary Ann Magadia" userId="1d9742bb-e3f4-43f2-905f-812d8d1d8b7c" providerId="ADAL" clId="{77DD9E04-9600-49FB-BF39-C19F9FCC637B}" dt="2023-10-17T01:37:59.957" v="24" actId="165"/>
          <ac:picMkLst>
            <pc:docMk/>
            <pc:sldMk cId="3947124730" sldId="1174"/>
            <ac:picMk id="25" creationId="{9F1B8C68-DA53-4490-BDAE-EFC010B185F7}"/>
          </ac:picMkLst>
        </pc:picChg>
        <pc:picChg chg="mod">
          <ac:chgData name="Mary Ann Magadia" userId="1d9742bb-e3f4-43f2-905f-812d8d1d8b7c" providerId="ADAL" clId="{77DD9E04-9600-49FB-BF39-C19F9FCC637B}" dt="2023-10-17T01:37:59.957" v="24" actId="165"/>
          <ac:picMkLst>
            <pc:docMk/>
            <pc:sldMk cId="3947124730" sldId="1174"/>
            <ac:picMk id="26" creationId="{B4CB9DB1-D2F1-48C2-9D52-9D5239D4F525}"/>
          </ac:picMkLst>
        </pc:picChg>
        <pc:picChg chg="mod">
          <ac:chgData name="Mary Ann Magadia" userId="1d9742bb-e3f4-43f2-905f-812d8d1d8b7c" providerId="ADAL" clId="{77DD9E04-9600-49FB-BF39-C19F9FCC637B}" dt="2023-10-17T01:37:59.957" v="24" actId="165"/>
          <ac:picMkLst>
            <pc:docMk/>
            <pc:sldMk cId="3947124730" sldId="1174"/>
            <ac:picMk id="27" creationId="{5E75A60C-5EC0-4B11-AC89-FBC5FDD0210D}"/>
          </ac:picMkLst>
        </pc:picChg>
        <pc:picChg chg="mod">
          <ac:chgData name="Mary Ann Magadia" userId="1d9742bb-e3f4-43f2-905f-812d8d1d8b7c" providerId="ADAL" clId="{77DD9E04-9600-49FB-BF39-C19F9FCC637B}" dt="2023-10-17T01:37:59.957" v="24" actId="165"/>
          <ac:picMkLst>
            <pc:docMk/>
            <pc:sldMk cId="3947124730" sldId="1174"/>
            <ac:picMk id="28" creationId="{1C3758E8-2933-4ADE-A5A6-A9648A6FA5CD}"/>
          </ac:picMkLst>
        </pc:picChg>
        <pc:picChg chg="mod">
          <ac:chgData name="Mary Ann Magadia" userId="1d9742bb-e3f4-43f2-905f-812d8d1d8b7c" providerId="ADAL" clId="{77DD9E04-9600-49FB-BF39-C19F9FCC637B}" dt="2023-10-17T01:37:59.957" v="24" actId="165"/>
          <ac:picMkLst>
            <pc:docMk/>
            <pc:sldMk cId="3947124730" sldId="1174"/>
            <ac:picMk id="29" creationId="{472A0BAD-DD74-440A-9F8F-BE9682860940}"/>
          </ac:picMkLst>
        </pc:picChg>
        <pc:picChg chg="mod">
          <ac:chgData name="Mary Ann Magadia" userId="1d9742bb-e3f4-43f2-905f-812d8d1d8b7c" providerId="ADAL" clId="{77DD9E04-9600-49FB-BF39-C19F9FCC637B}" dt="2023-10-17T01:37:59.957" v="24" actId="165"/>
          <ac:picMkLst>
            <pc:docMk/>
            <pc:sldMk cId="3947124730" sldId="1174"/>
            <ac:picMk id="30" creationId="{69F81E29-D5D0-4D41-ACD0-46DB5E3F99D5}"/>
          </ac:picMkLst>
        </pc:picChg>
        <pc:picChg chg="mod">
          <ac:chgData name="Mary Ann Magadia" userId="1d9742bb-e3f4-43f2-905f-812d8d1d8b7c" providerId="ADAL" clId="{77DD9E04-9600-49FB-BF39-C19F9FCC637B}" dt="2023-10-17T01:37:59.957" v="24" actId="165"/>
          <ac:picMkLst>
            <pc:docMk/>
            <pc:sldMk cId="3947124730" sldId="1174"/>
            <ac:picMk id="31" creationId="{23E3F0FC-2D44-4695-A4F1-809EA0D99C39}"/>
          </ac:picMkLst>
        </pc:picChg>
        <pc:picChg chg="mod">
          <ac:chgData name="Mary Ann Magadia" userId="1d9742bb-e3f4-43f2-905f-812d8d1d8b7c" providerId="ADAL" clId="{77DD9E04-9600-49FB-BF39-C19F9FCC637B}" dt="2023-10-17T01:37:59.957" v="24" actId="165"/>
          <ac:picMkLst>
            <pc:docMk/>
            <pc:sldMk cId="3947124730" sldId="1174"/>
            <ac:picMk id="32" creationId="{CB3133E9-3BE7-47A4-9B2D-9BD333F0BDC8}"/>
          </ac:picMkLst>
        </pc:picChg>
        <pc:picChg chg="mod">
          <ac:chgData name="Mary Ann Magadia" userId="1d9742bb-e3f4-43f2-905f-812d8d1d8b7c" providerId="ADAL" clId="{77DD9E04-9600-49FB-BF39-C19F9FCC637B}" dt="2023-10-17T01:37:59.957" v="24" actId="165"/>
          <ac:picMkLst>
            <pc:docMk/>
            <pc:sldMk cId="3947124730" sldId="1174"/>
            <ac:picMk id="33" creationId="{63279EA3-CA12-4E9C-8054-E39CE2D4DFD7}"/>
          </ac:picMkLst>
        </pc:picChg>
        <pc:picChg chg="mod">
          <ac:chgData name="Mary Ann Magadia" userId="1d9742bb-e3f4-43f2-905f-812d8d1d8b7c" providerId="ADAL" clId="{77DD9E04-9600-49FB-BF39-C19F9FCC637B}" dt="2023-10-17T01:37:59.957" v="24" actId="165"/>
          <ac:picMkLst>
            <pc:docMk/>
            <pc:sldMk cId="3947124730" sldId="1174"/>
            <ac:picMk id="34" creationId="{162B71DD-167C-4FB5-8749-0D07F3DADA67}"/>
          </ac:picMkLst>
        </pc:picChg>
        <pc:picChg chg="mod">
          <ac:chgData name="Mary Ann Magadia" userId="1d9742bb-e3f4-43f2-905f-812d8d1d8b7c" providerId="ADAL" clId="{77DD9E04-9600-49FB-BF39-C19F9FCC637B}" dt="2023-10-17T01:37:59.957" v="24" actId="165"/>
          <ac:picMkLst>
            <pc:docMk/>
            <pc:sldMk cId="3947124730" sldId="1174"/>
            <ac:picMk id="35" creationId="{3A2637CB-3917-4D16-B705-688FE760FC4A}"/>
          </ac:picMkLst>
        </pc:picChg>
        <pc:picChg chg="mod">
          <ac:chgData name="Mary Ann Magadia" userId="1d9742bb-e3f4-43f2-905f-812d8d1d8b7c" providerId="ADAL" clId="{77DD9E04-9600-49FB-BF39-C19F9FCC637B}" dt="2023-10-17T01:37:59.957" v="24" actId="165"/>
          <ac:picMkLst>
            <pc:docMk/>
            <pc:sldMk cId="3947124730" sldId="1174"/>
            <ac:picMk id="36" creationId="{95163BDD-8954-48DB-A292-955439EB3C33}"/>
          </ac:picMkLst>
        </pc:picChg>
        <pc:cxnChg chg="mod">
          <ac:chgData name="Mary Ann Magadia" userId="1d9742bb-e3f4-43f2-905f-812d8d1d8b7c" providerId="ADAL" clId="{77DD9E04-9600-49FB-BF39-C19F9FCC637B}" dt="2023-10-17T01:38:20.812" v="27" actId="1076"/>
          <ac:cxnSpMkLst>
            <pc:docMk/>
            <pc:sldMk cId="3947124730" sldId="1174"/>
            <ac:cxnSpMk id="39" creationId="{C59722C0-D2F4-4BAD-AB9A-68EABAC16C34}"/>
          </ac:cxnSpMkLst>
        </pc:cxnChg>
      </pc:sldChg>
      <pc:sldChg chg="modSp mod">
        <pc:chgData name="Mary Ann Magadia" userId="1d9742bb-e3f4-43f2-905f-812d8d1d8b7c" providerId="ADAL" clId="{77DD9E04-9600-49FB-BF39-C19F9FCC637B}" dt="2023-10-17T02:36:23.237" v="77" actId="14100"/>
        <pc:sldMkLst>
          <pc:docMk/>
          <pc:sldMk cId="3536490213" sldId="1240"/>
        </pc:sldMkLst>
        <pc:spChg chg="mod">
          <ac:chgData name="Mary Ann Magadia" userId="1d9742bb-e3f4-43f2-905f-812d8d1d8b7c" providerId="ADAL" clId="{77DD9E04-9600-49FB-BF39-C19F9FCC637B}" dt="2023-10-17T02:36:18.531" v="76" actId="1076"/>
          <ac:spMkLst>
            <pc:docMk/>
            <pc:sldMk cId="3536490213" sldId="1240"/>
            <ac:spMk id="2" creationId="{BA01393A-6273-439B-AACF-16ED5D6812F4}"/>
          </ac:spMkLst>
        </pc:spChg>
        <pc:grpChg chg="mod ord">
          <ac:chgData name="Mary Ann Magadia" userId="1d9742bb-e3f4-43f2-905f-812d8d1d8b7c" providerId="ADAL" clId="{77DD9E04-9600-49FB-BF39-C19F9FCC637B}" dt="2023-10-17T02:36:01.410" v="73" actId="1076"/>
          <ac:grpSpMkLst>
            <pc:docMk/>
            <pc:sldMk cId="3536490213" sldId="1240"/>
            <ac:grpSpMk id="4" creationId="{00DE8AD3-029F-F439-55FF-B3256D7967F7}"/>
          </ac:grpSpMkLst>
        </pc:grpChg>
        <pc:picChg chg="mod">
          <ac:chgData name="Mary Ann Magadia" userId="1d9742bb-e3f4-43f2-905f-812d8d1d8b7c" providerId="ADAL" clId="{77DD9E04-9600-49FB-BF39-C19F9FCC637B}" dt="2023-10-17T02:35:46.701" v="68" actId="1076"/>
          <ac:picMkLst>
            <pc:docMk/>
            <pc:sldMk cId="3536490213" sldId="1240"/>
            <ac:picMk id="8" creationId="{9CD8BF36-8788-894D-048E-33DE66C619FA}"/>
          </ac:picMkLst>
        </pc:picChg>
        <pc:picChg chg="mod">
          <ac:chgData name="Mary Ann Magadia" userId="1d9742bb-e3f4-43f2-905f-812d8d1d8b7c" providerId="ADAL" clId="{77DD9E04-9600-49FB-BF39-C19F9FCC637B}" dt="2023-10-17T02:35:43.773" v="67" actId="14100"/>
          <ac:picMkLst>
            <pc:docMk/>
            <pc:sldMk cId="3536490213" sldId="1240"/>
            <ac:picMk id="10" creationId="{E3A9426B-1193-984E-C596-C4C703B1D04C}"/>
          </ac:picMkLst>
        </pc:picChg>
        <pc:picChg chg="mod ord">
          <ac:chgData name="Mary Ann Magadia" userId="1d9742bb-e3f4-43f2-905f-812d8d1d8b7c" providerId="ADAL" clId="{77DD9E04-9600-49FB-BF39-C19F9FCC637B}" dt="2023-10-17T02:36:23.237" v="77" actId="14100"/>
          <ac:picMkLst>
            <pc:docMk/>
            <pc:sldMk cId="3536490213" sldId="1240"/>
            <ac:picMk id="11" creationId="{206EB1AA-0C67-A165-5DBC-B2988CF6DAC8}"/>
          </ac:picMkLst>
        </pc:picChg>
        <pc:picChg chg="mod">
          <ac:chgData name="Mary Ann Magadia" userId="1d9742bb-e3f4-43f2-905f-812d8d1d8b7c" providerId="ADAL" clId="{77DD9E04-9600-49FB-BF39-C19F9FCC637B}" dt="2023-10-17T02:36:08.331" v="74" actId="1076"/>
          <ac:picMkLst>
            <pc:docMk/>
            <pc:sldMk cId="3536490213" sldId="1240"/>
            <ac:picMk id="12" creationId="{720E4375-8F56-B524-87F2-B3ABC05E28EF}"/>
          </ac:picMkLst>
        </pc:picChg>
      </pc:sldChg>
      <pc:sldMasterChg chg="modSldLayout">
        <pc:chgData name="Mary Ann Magadia" userId="1d9742bb-e3f4-43f2-905f-812d8d1d8b7c" providerId="ADAL" clId="{77DD9E04-9600-49FB-BF39-C19F9FCC637B}" dt="2023-10-17T02:37:34.130" v="87" actId="14100"/>
        <pc:sldMasterMkLst>
          <pc:docMk/>
          <pc:sldMasterMk cId="708840148" sldId="2147483660"/>
        </pc:sldMasterMkLst>
        <pc:sldLayoutChg chg="modSp mod">
          <pc:chgData name="Mary Ann Magadia" userId="1d9742bb-e3f4-43f2-905f-812d8d1d8b7c" providerId="ADAL" clId="{77DD9E04-9600-49FB-BF39-C19F9FCC637B}" dt="2023-10-17T02:37:34.130" v="87" actId="14100"/>
          <pc:sldLayoutMkLst>
            <pc:docMk/>
            <pc:sldMasterMk cId="708840148" sldId="2147483660"/>
            <pc:sldLayoutMk cId="2321714303" sldId="2147483672"/>
          </pc:sldLayoutMkLst>
          <pc:picChg chg="mod">
            <ac:chgData name="Mary Ann Magadia" userId="1d9742bb-e3f4-43f2-905f-812d8d1d8b7c" providerId="ADAL" clId="{77DD9E04-9600-49FB-BF39-C19F9FCC637B}" dt="2023-10-17T02:37:34.130" v="87" actId="14100"/>
            <ac:picMkLst>
              <pc:docMk/>
              <pc:sldMasterMk cId="708840148" sldId="2147483660"/>
              <pc:sldLayoutMk cId="2321714303" sldId="2147483672"/>
              <ac:picMk id="18" creationId="{816FB951-A042-0F4E-9E81-F0E653F69ECD}"/>
            </ac:picMkLst>
          </pc:picChg>
          <pc:picChg chg="mod">
            <ac:chgData name="Mary Ann Magadia" userId="1d9742bb-e3f4-43f2-905f-812d8d1d8b7c" providerId="ADAL" clId="{77DD9E04-9600-49FB-BF39-C19F9FCC637B}" dt="2023-10-17T02:37:28.963" v="85" actId="14100"/>
            <ac:picMkLst>
              <pc:docMk/>
              <pc:sldMasterMk cId="708840148" sldId="2147483660"/>
              <pc:sldLayoutMk cId="2321714303" sldId="2147483672"/>
              <ac:picMk id="19" creationId="{E5C1D184-89CC-7D44-9A21-2F4F6910D1FF}"/>
            </ac:picMkLst>
          </pc:picChg>
        </pc:sldLayoutChg>
      </pc:sldMasterChg>
    </pc:docChg>
  </pc:docChgLst>
  <pc:docChgLst>
    <pc:chgData name="Dorothea C. Lazaro" userId="805b2f41-9d5e-4ff4-8a46-e4c17eaa3090" providerId="ADAL" clId="{2631A463-3624-FD40-ABFE-49C7061D5CCA}"/>
    <pc:docChg chg="undo custSel addSld delSld modSld">
      <pc:chgData name="Dorothea C. Lazaro" userId="805b2f41-9d5e-4ff4-8a46-e4c17eaa3090" providerId="ADAL" clId="{2631A463-3624-FD40-ABFE-49C7061D5CCA}" dt="2023-10-13T08:27:44.895" v="122" actId="2696"/>
      <pc:docMkLst>
        <pc:docMk/>
      </pc:docMkLst>
      <pc:sldChg chg="addSp delSp modSp mod">
        <pc:chgData name="Dorothea C. Lazaro" userId="805b2f41-9d5e-4ff4-8a46-e4c17eaa3090" providerId="ADAL" clId="{2631A463-3624-FD40-ABFE-49C7061D5CCA}" dt="2023-10-13T08:11:29.374" v="51" actId="1076"/>
        <pc:sldMkLst>
          <pc:docMk/>
          <pc:sldMk cId="1905903416" sldId="256"/>
        </pc:sldMkLst>
        <pc:spChg chg="mod">
          <ac:chgData name="Dorothea C. Lazaro" userId="805b2f41-9d5e-4ff4-8a46-e4c17eaa3090" providerId="ADAL" clId="{2631A463-3624-FD40-ABFE-49C7061D5CCA}" dt="2023-10-13T08:11:26.060" v="50" actId="1076"/>
          <ac:spMkLst>
            <pc:docMk/>
            <pc:sldMk cId="1905903416" sldId="256"/>
            <ac:spMk id="3" creationId="{45FC0D34-2E36-42A2-AE9E-BD858C5199A1}"/>
          </ac:spMkLst>
        </pc:spChg>
        <pc:spChg chg="mod">
          <ac:chgData name="Dorothea C. Lazaro" userId="805b2f41-9d5e-4ff4-8a46-e4c17eaa3090" providerId="ADAL" clId="{2631A463-3624-FD40-ABFE-49C7061D5CCA}" dt="2023-10-13T08:11:29.374" v="51" actId="1076"/>
          <ac:spMkLst>
            <pc:docMk/>
            <pc:sldMk cId="1905903416" sldId="256"/>
            <ac:spMk id="5" creationId="{22E3AF2F-209D-9770-3078-3A75C4E0015C}"/>
          </ac:spMkLst>
        </pc:spChg>
        <pc:picChg chg="add del mod">
          <ac:chgData name="Dorothea C. Lazaro" userId="805b2f41-9d5e-4ff4-8a46-e4c17eaa3090" providerId="ADAL" clId="{2631A463-3624-FD40-ABFE-49C7061D5CCA}" dt="2023-10-13T08:11:23.723" v="49" actId="21"/>
          <ac:picMkLst>
            <pc:docMk/>
            <pc:sldMk cId="1905903416" sldId="256"/>
            <ac:picMk id="1026" creationId="{67E985FC-6069-5715-58D8-F21368D9BFB7}"/>
          </ac:picMkLst>
        </pc:picChg>
      </pc:sldChg>
      <pc:sldChg chg="addSp delSp modSp mod">
        <pc:chgData name="Dorothea C. Lazaro" userId="805b2f41-9d5e-4ff4-8a46-e4c17eaa3090" providerId="ADAL" clId="{2631A463-3624-FD40-ABFE-49C7061D5CCA}" dt="2023-10-13T08:13:11.654" v="84" actId="1076"/>
        <pc:sldMkLst>
          <pc:docMk/>
          <pc:sldMk cId="972413573" sldId="1171"/>
        </pc:sldMkLst>
        <pc:spChg chg="mod">
          <ac:chgData name="Dorothea C. Lazaro" userId="805b2f41-9d5e-4ff4-8a46-e4c17eaa3090" providerId="ADAL" clId="{2631A463-3624-FD40-ABFE-49C7061D5CCA}" dt="2023-10-13T08:13:11.654" v="84" actId="1076"/>
          <ac:spMkLst>
            <pc:docMk/>
            <pc:sldMk cId="972413573" sldId="1171"/>
            <ac:spMk id="4" creationId="{A120A2F6-D33F-D846-BA6B-92C4DEAE819F}"/>
          </ac:spMkLst>
        </pc:spChg>
        <pc:spChg chg="mod">
          <ac:chgData name="Dorothea C. Lazaro" userId="805b2f41-9d5e-4ff4-8a46-e4c17eaa3090" providerId="ADAL" clId="{2631A463-3624-FD40-ABFE-49C7061D5CCA}" dt="2023-10-13T08:13:11.654" v="84" actId="1076"/>
          <ac:spMkLst>
            <pc:docMk/>
            <pc:sldMk cId="972413573" sldId="1171"/>
            <ac:spMk id="18" creationId="{D6495175-6B10-419E-AC29-A3366F24BDCF}"/>
          </ac:spMkLst>
        </pc:spChg>
        <pc:spChg chg="mod">
          <ac:chgData name="Dorothea C. Lazaro" userId="805b2f41-9d5e-4ff4-8a46-e4c17eaa3090" providerId="ADAL" clId="{2631A463-3624-FD40-ABFE-49C7061D5CCA}" dt="2023-10-13T08:13:11.654" v="84" actId="1076"/>
          <ac:spMkLst>
            <pc:docMk/>
            <pc:sldMk cId="972413573" sldId="1171"/>
            <ac:spMk id="28" creationId="{3AAD10DF-2654-504A-B564-49C6FF30881C}"/>
          </ac:spMkLst>
        </pc:spChg>
        <pc:spChg chg="mod">
          <ac:chgData name="Dorothea C. Lazaro" userId="805b2f41-9d5e-4ff4-8a46-e4c17eaa3090" providerId="ADAL" clId="{2631A463-3624-FD40-ABFE-49C7061D5CCA}" dt="2023-10-13T08:13:11.654" v="84" actId="1076"/>
          <ac:spMkLst>
            <pc:docMk/>
            <pc:sldMk cId="972413573" sldId="1171"/>
            <ac:spMk id="29" creationId="{BE1EEFF4-23F8-7840-8A33-C484E948F2CE}"/>
          </ac:spMkLst>
        </pc:spChg>
        <pc:spChg chg="mod">
          <ac:chgData name="Dorothea C. Lazaro" userId="805b2f41-9d5e-4ff4-8a46-e4c17eaa3090" providerId="ADAL" clId="{2631A463-3624-FD40-ABFE-49C7061D5CCA}" dt="2023-10-13T08:13:11.654" v="84" actId="1076"/>
          <ac:spMkLst>
            <pc:docMk/>
            <pc:sldMk cId="972413573" sldId="1171"/>
            <ac:spMk id="31" creationId="{41B20CBC-8DDD-E147-A56A-588CE8212C0F}"/>
          </ac:spMkLst>
        </pc:spChg>
        <pc:spChg chg="mod">
          <ac:chgData name="Dorothea C. Lazaro" userId="805b2f41-9d5e-4ff4-8a46-e4c17eaa3090" providerId="ADAL" clId="{2631A463-3624-FD40-ABFE-49C7061D5CCA}" dt="2023-10-13T08:13:11.654" v="84" actId="1076"/>
          <ac:spMkLst>
            <pc:docMk/>
            <pc:sldMk cId="972413573" sldId="1171"/>
            <ac:spMk id="33" creationId="{211FA308-C099-3344-B611-5EE94DEADDAC}"/>
          </ac:spMkLst>
        </pc:spChg>
        <pc:spChg chg="mod">
          <ac:chgData name="Dorothea C. Lazaro" userId="805b2f41-9d5e-4ff4-8a46-e4c17eaa3090" providerId="ADAL" clId="{2631A463-3624-FD40-ABFE-49C7061D5CCA}" dt="2023-10-13T08:13:11.654" v="84" actId="1076"/>
          <ac:spMkLst>
            <pc:docMk/>
            <pc:sldMk cId="972413573" sldId="1171"/>
            <ac:spMk id="34" creationId="{9B593572-BEE6-4349-BFD5-D72BA68E7FB0}"/>
          </ac:spMkLst>
        </pc:spChg>
        <pc:spChg chg="mod">
          <ac:chgData name="Dorothea C. Lazaro" userId="805b2f41-9d5e-4ff4-8a46-e4c17eaa3090" providerId="ADAL" clId="{2631A463-3624-FD40-ABFE-49C7061D5CCA}" dt="2023-10-13T08:13:11.654" v="84" actId="1076"/>
          <ac:spMkLst>
            <pc:docMk/>
            <pc:sldMk cId="972413573" sldId="1171"/>
            <ac:spMk id="39" creationId="{EA743B8B-643A-8B48-82D5-1315AC9861D8}"/>
          </ac:spMkLst>
        </pc:spChg>
        <pc:spChg chg="mod">
          <ac:chgData name="Dorothea C. Lazaro" userId="805b2f41-9d5e-4ff4-8a46-e4c17eaa3090" providerId="ADAL" clId="{2631A463-3624-FD40-ABFE-49C7061D5CCA}" dt="2023-10-13T08:13:11.654" v="84" actId="1076"/>
          <ac:spMkLst>
            <pc:docMk/>
            <pc:sldMk cId="972413573" sldId="1171"/>
            <ac:spMk id="46" creationId="{7DC5AE39-D126-7043-9450-BB97914B5D4C}"/>
          </ac:spMkLst>
        </pc:spChg>
        <pc:spChg chg="mod">
          <ac:chgData name="Dorothea C. Lazaro" userId="805b2f41-9d5e-4ff4-8a46-e4c17eaa3090" providerId="ADAL" clId="{2631A463-3624-FD40-ABFE-49C7061D5CCA}" dt="2023-10-13T08:13:11.654" v="84" actId="1076"/>
          <ac:spMkLst>
            <pc:docMk/>
            <pc:sldMk cId="972413573" sldId="1171"/>
            <ac:spMk id="47" creationId="{936D2594-6C8A-ED4C-9C6D-4799A800D799}"/>
          </ac:spMkLst>
        </pc:spChg>
        <pc:spChg chg="mod">
          <ac:chgData name="Dorothea C. Lazaro" userId="805b2f41-9d5e-4ff4-8a46-e4c17eaa3090" providerId="ADAL" clId="{2631A463-3624-FD40-ABFE-49C7061D5CCA}" dt="2023-10-13T08:13:11.654" v="84" actId="1076"/>
          <ac:spMkLst>
            <pc:docMk/>
            <pc:sldMk cId="972413573" sldId="1171"/>
            <ac:spMk id="48" creationId="{E0BF8EBF-AB4F-334B-A4A4-296D53BC2197}"/>
          </ac:spMkLst>
        </pc:spChg>
        <pc:spChg chg="mod">
          <ac:chgData name="Dorothea C. Lazaro" userId="805b2f41-9d5e-4ff4-8a46-e4c17eaa3090" providerId="ADAL" clId="{2631A463-3624-FD40-ABFE-49C7061D5CCA}" dt="2023-10-13T08:13:11.654" v="84" actId="1076"/>
          <ac:spMkLst>
            <pc:docMk/>
            <pc:sldMk cId="972413573" sldId="1171"/>
            <ac:spMk id="49" creationId="{15461027-70AD-814A-A975-51A76FFEB655}"/>
          </ac:spMkLst>
        </pc:spChg>
        <pc:spChg chg="mod">
          <ac:chgData name="Dorothea C. Lazaro" userId="805b2f41-9d5e-4ff4-8a46-e4c17eaa3090" providerId="ADAL" clId="{2631A463-3624-FD40-ABFE-49C7061D5CCA}" dt="2023-10-13T08:13:11.654" v="84" actId="1076"/>
          <ac:spMkLst>
            <pc:docMk/>
            <pc:sldMk cId="972413573" sldId="1171"/>
            <ac:spMk id="50" creationId="{6FAEC455-B152-B446-9AA6-66918A2A4C46}"/>
          </ac:spMkLst>
        </pc:spChg>
        <pc:spChg chg="mod">
          <ac:chgData name="Dorothea C. Lazaro" userId="805b2f41-9d5e-4ff4-8a46-e4c17eaa3090" providerId="ADAL" clId="{2631A463-3624-FD40-ABFE-49C7061D5CCA}" dt="2023-10-13T08:13:11.654" v="84" actId="1076"/>
          <ac:spMkLst>
            <pc:docMk/>
            <pc:sldMk cId="972413573" sldId="1171"/>
            <ac:spMk id="51" creationId="{9300997C-69BF-194B-B4C5-B1729384011A}"/>
          </ac:spMkLst>
        </pc:spChg>
        <pc:spChg chg="mod">
          <ac:chgData name="Dorothea C. Lazaro" userId="805b2f41-9d5e-4ff4-8a46-e4c17eaa3090" providerId="ADAL" clId="{2631A463-3624-FD40-ABFE-49C7061D5CCA}" dt="2023-10-13T08:13:11.654" v="84" actId="1076"/>
          <ac:spMkLst>
            <pc:docMk/>
            <pc:sldMk cId="972413573" sldId="1171"/>
            <ac:spMk id="52" creationId="{83597922-2EB4-2A41-9E25-AB52B7E6AF3F}"/>
          </ac:spMkLst>
        </pc:spChg>
        <pc:picChg chg="add del mod">
          <ac:chgData name="Dorothea C. Lazaro" userId="805b2f41-9d5e-4ff4-8a46-e4c17eaa3090" providerId="ADAL" clId="{2631A463-3624-FD40-ABFE-49C7061D5CCA}" dt="2023-10-13T08:13:03.682" v="83" actId="21"/>
          <ac:picMkLst>
            <pc:docMk/>
            <pc:sldMk cId="972413573" sldId="1171"/>
            <ac:picMk id="2" creationId="{68259EBE-4BF0-8C44-77F4-9BE183A39872}"/>
          </ac:picMkLst>
        </pc:picChg>
      </pc:sldChg>
      <pc:sldChg chg="add del">
        <pc:chgData name="Dorothea C. Lazaro" userId="805b2f41-9d5e-4ff4-8a46-e4c17eaa3090" providerId="ADAL" clId="{2631A463-3624-FD40-ABFE-49C7061D5CCA}" dt="2023-10-13T08:27:36.743" v="121"/>
        <pc:sldMkLst>
          <pc:docMk/>
          <pc:sldMk cId="3947124730" sldId="1174"/>
        </pc:sldMkLst>
      </pc:sldChg>
      <pc:sldChg chg="addSp delSp modSp mod">
        <pc:chgData name="Dorothea C. Lazaro" userId="805b2f41-9d5e-4ff4-8a46-e4c17eaa3090" providerId="ADAL" clId="{2631A463-3624-FD40-ABFE-49C7061D5CCA}" dt="2023-10-13T08:15:44.249" v="118" actId="1076"/>
        <pc:sldMkLst>
          <pc:docMk/>
          <pc:sldMk cId="1607438961" sldId="1211"/>
        </pc:sldMkLst>
        <pc:spChg chg="del mod">
          <ac:chgData name="Dorothea C. Lazaro" userId="805b2f41-9d5e-4ff4-8a46-e4c17eaa3090" providerId="ADAL" clId="{2631A463-3624-FD40-ABFE-49C7061D5CCA}" dt="2023-10-13T08:07:29.913" v="27" actId="478"/>
          <ac:spMkLst>
            <pc:docMk/>
            <pc:sldMk cId="1607438961" sldId="1211"/>
            <ac:spMk id="5" creationId="{A533FD2B-A997-1D4B-946A-3383E08070C3}"/>
          </ac:spMkLst>
        </pc:spChg>
        <pc:spChg chg="add del">
          <ac:chgData name="Dorothea C. Lazaro" userId="805b2f41-9d5e-4ff4-8a46-e4c17eaa3090" providerId="ADAL" clId="{2631A463-3624-FD40-ABFE-49C7061D5CCA}" dt="2023-10-13T08:07:00.544" v="22" actId="22"/>
          <ac:spMkLst>
            <pc:docMk/>
            <pc:sldMk cId="1607438961" sldId="1211"/>
            <ac:spMk id="8" creationId="{5F5A490D-BAD9-2C2A-C079-2092F1AFED77}"/>
          </ac:spMkLst>
        </pc:spChg>
        <pc:picChg chg="mod">
          <ac:chgData name="Dorothea C. Lazaro" userId="805b2f41-9d5e-4ff4-8a46-e4c17eaa3090" providerId="ADAL" clId="{2631A463-3624-FD40-ABFE-49C7061D5CCA}" dt="2023-10-13T08:09:14.030" v="37" actId="1037"/>
          <ac:picMkLst>
            <pc:docMk/>
            <pc:sldMk cId="1607438961" sldId="1211"/>
            <ac:picMk id="2" creationId="{E7881AFB-B17E-BCA0-E0E3-0CB07EB51FA9}"/>
          </ac:picMkLst>
        </pc:picChg>
        <pc:picChg chg="mod modCrop">
          <ac:chgData name="Dorothea C. Lazaro" userId="805b2f41-9d5e-4ff4-8a46-e4c17eaa3090" providerId="ADAL" clId="{2631A463-3624-FD40-ABFE-49C7061D5CCA}" dt="2023-10-13T08:15:44.249" v="118" actId="1076"/>
          <ac:picMkLst>
            <pc:docMk/>
            <pc:sldMk cId="1607438961" sldId="1211"/>
            <ac:picMk id="4" creationId="{E5079140-ED23-2AF4-B056-2F046427A44E}"/>
          </ac:picMkLst>
        </pc:picChg>
        <pc:picChg chg="add del mod">
          <ac:chgData name="Dorothea C. Lazaro" userId="805b2f41-9d5e-4ff4-8a46-e4c17eaa3090" providerId="ADAL" clId="{2631A463-3624-FD40-ABFE-49C7061D5CCA}" dt="2023-10-13T08:14:53.188" v="105" actId="21"/>
          <ac:picMkLst>
            <pc:docMk/>
            <pc:sldMk cId="1607438961" sldId="1211"/>
            <ac:picMk id="9" creationId="{65564A45-4AE3-0361-5625-C30911CF9C41}"/>
          </ac:picMkLst>
        </pc:picChg>
      </pc:sldChg>
      <pc:sldChg chg="modSp mod">
        <pc:chgData name="Dorothea C. Lazaro" userId="805b2f41-9d5e-4ff4-8a46-e4c17eaa3090" providerId="ADAL" clId="{2631A463-3624-FD40-ABFE-49C7061D5CCA}" dt="2023-10-13T08:02:21.454" v="4" actId="115"/>
        <pc:sldMkLst>
          <pc:docMk/>
          <pc:sldMk cId="4036976299" sldId="1238"/>
        </pc:sldMkLst>
        <pc:spChg chg="mod">
          <ac:chgData name="Dorothea C. Lazaro" userId="805b2f41-9d5e-4ff4-8a46-e4c17eaa3090" providerId="ADAL" clId="{2631A463-3624-FD40-ABFE-49C7061D5CCA}" dt="2023-10-13T08:02:21.454" v="4" actId="115"/>
          <ac:spMkLst>
            <pc:docMk/>
            <pc:sldMk cId="4036976299" sldId="1238"/>
            <ac:spMk id="4" creationId="{DA879AD2-52A6-40AA-A8BF-2F1676AA7E86}"/>
          </ac:spMkLst>
        </pc:spChg>
      </pc:sldChg>
      <pc:sldChg chg="modSp mod">
        <pc:chgData name="Dorothea C. Lazaro" userId="805b2f41-9d5e-4ff4-8a46-e4c17eaa3090" providerId="ADAL" clId="{2631A463-3624-FD40-ABFE-49C7061D5CCA}" dt="2023-10-13T08:02:39.777" v="7" actId="20577"/>
        <pc:sldMkLst>
          <pc:docMk/>
          <pc:sldMk cId="3536490213" sldId="1240"/>
        </pc:sldMkLst>
        <pc:spChg chg="mod">
          <ac:chgData name="Dorothea C. Lazaro" userId="805b2f41-9d5e-4ff4-8a46-e4c17eaa3090" providerId="ADAL" clId="{2631A463-3624-FD40-ABFE-49C7061D5CCA}" dt="2023-10-13T08:02:39.777" v="7" actId="20577"/>
          <ac:spMkLst>
            <pc:docMk/>
            <pc:sldMk cId="3536490213" sldId="1240"/>
            <ac:spMk id="2" creationId="{BA01393A-6273-439B-AACF-16ED5D6812F4}"/>
          </ac:spMkLst>
        </pc:spChg>
        <pc:spChg chg="mod">
          <ac:chgData name="Dorothea C. Lazaro" userId="805b2f41-9d5e-4ff4-8a46-e4c17eaa3090" providerId="ADAL" clId="{2631A463-3624-FD40-ABFE-49C7061D5CCA}" dt="2023-10-13T08:02:31.071" v="5" actId="1076"/>
          <ac:spMkLst>
            <pc:docMk/>
            <pc:sldMk cId="3536490213" sldId="1240"/>
            <ac:spMk id="89" creationId="{309B3D17-66B5-1287-34A8-7FF5B29D5B94}"/>
          </ac:spMkLst>
        </pc:spChg>
      </pc:sldChg>
      <pc:sldChg chg="modSp mod">
        <pc:chgData name="Dorothea C. Lazaro" userId="805b2f41-9d5e-4ff4-8a46-e4c17eaa3090" providerId="ADAL" clId="{2631A463-3624-FD40-ABFE-49C7061D5CCA}" dt="2023-10-13T08:03:35.882" v="15" actId="20577"/>
        <pc:sldMkLst>
          <pc:docMk/>
          <pc:sldMk cId="2540549125" sldId="1241"/>
        </pc:sldMkLst>
        <pc:spChg chg="mod">
          <ac:chgData name="Dorothea C. Lazaro" userId="805b2f41-9d5e-4ff4-8a46-e4c17eaa3090" providerId="ADAL" clId="{2631A463-3624-FD40-ABFE-49C7061D5CCA}" dt="2023-10-13T08:03:35.882" v="15" actId="20577"/>
          <ac:spMkLst>
            <pc:docMk/>
            <pc:sldMk cId="2540549125" sldId="1241"/>
            <ac:spMk id="2" creationId="{D4699C8B-7E11-2B1E-8E84-1035F800EBFD}"/>
          </ac:spMkLst>
        </pc:spChg>
        <pc:spChg chg="mod">
          <ac:chgData name="Dorothea C. Lazaro" userId="805b2f41-9d5e-4ff4-8a46-e4c17eaa3090" providerId="ADAL" clId="{2631A463-3624-FD40-ABFE-49C7061D5CCA}" dt="2023-10-13T08:03:08.702" v="13" actId="20577"/>
          <ac:spMkLst>
            <pc:docMk/>
            <pc:sldMk cId="2540549125" sldId="1241"/>
            <ac:spMk id="20" creationId="{99EB1A8A-3C32-FE51-BA8D-5DCB7E3C5DBA}"/>
          </ac:spMkLst>
        </pc:spChg>
      </pc:sldChg>
      <pc:sldChg chg="modSp mod">
        <pc:chgData name="Dorothea C. Lazaro" userId="805b2f41-9d5e-4ff4-8a46-e4c17eaa3090" providerId="ADAL" clId="{2631A463-3624-FD40-ABFE-49C7061D5CCA}" dt="2023-10-13T08:03:47.221" v="16" actId="20577"/>
        <pc:sldMkLst>
          <pc:docMk/>
          <pc:sldMk cId="1008030223" sldId="1242"/>
        </pc:sldMkLst>
        <pc:spChg chg="mod">
          <ac:chgData name="Dorothea C. Lazaro" userId="805b2f41-9d5e-4ff4-8a46-e4c17eaa3090" providerId="ADAL" clId="{2631A463-3624-FD40-ABFE-49C7061D5CCA}" dt="2023-10-13T08:03:47.221" v="16" actId="20577"/>
          <ac:spMkLst>
            <pc:docMk/>
            <pc:sldMk cId="1008030223" sldId="1242"/>
            <ac:spMk id="6" creationId="{AFDDFD85-313F-36C8-9BAD-1222C65951F5}"/>
          </ac:spMkLst>
        </pc:spChg>
      </pc:sldChg>
      <pc:sldChg chg="addSp modSp new del mod">
        <pc:chgData name="Dorothea C. Lazaro" userId="805b2f41-9d5e-4ff4-8a46-e4c17eaa3090" providerId="ADAL" clId="{2631A463-3624-FD40-ABFE-49C7061D5CCA}" dt="2023-10-13T08:27:44.895" v="122" actId="2696"/>
        <pc:sldMkLst>
          <pc:docMk/>
          <pc:sldMk cId="1621216364" sldId="1243"/>
        </pc:sldMkLst>
        <pc:spChg chg="add mod">
          <ac:chgData name="Dorothea C. Lazaro" userId="805b2f41-9d5e-4ff4-8a46-e4c17eaa3090" providerId="ADAL" clId="{2631A463-3624-FD40-ABFE-49C7061D5CCA}" dt="2023-10-13T08:15:21.805" v="114" actId="1076"/>
          <ac:spMkLst>
            <pc:docMk/>
            <pc:sldMk cId="1621216364" sldId="1243"/>
            <ac:spMk id="4" creationId="{D3738735-D439-171F-7673-83D58A16BB74}"/>
          </ac:spMkLst>
        </pc:spChg>
        <pc:picChg chg="add mod">
          <ac:chgData name="Dorothea C. Lazaro" userId="805b2f41-9d5e-4ff4-8a46-e4c17eaa3090" providerId="ADAL" clId="{2631A463-3624-FD40-ABFE-49C7061D5CCA}" dt="2023-10-13T08:15:06.185" v="111" actId="1076"/>
          <ac:picMkLst>
            <pc:docMk/>
            <pc:sldMk cId="1621216364" sldId="1243"/>
            <ac:picMk id="2" creationId="{2DF4B2C3-30F9-425E-757B-E9A04CBCC687}"/>
          </ac:picMkLst>
        </pc:picChg>
        <pc:picChg chg="add mod">
          <ac:chgData name="Dorothea C. Lazaro" userId="805b2f41-9d5e-4ff4-8a46-e4c17eaa3090" providerId="ADAL" clId="{2631A463-3624-FD40-ABFE-49C7061D5CCA}" dt="2023-10-13T08:15:23.720" v="115" actId="1076"/>
          <ac:picMkLst>
            <pc:docMk/>
            <pc:sldMk cId="1621216364" sldId="1243"/>
            <ac:picMk id="5" creationId="{76C469A9-A3A3-3E73-02FC-98AF205380DE}"/>
          </ac:picMkLst>
        </pc:picChg>
      </pc:sldChg>
    </pc:docChg>
  </pc:docChgLst>
  <pc:docChgLst>
    <pc:chgData name="Kenzhekhan Abuov" userId="902729f0-25f2-45d2-93e1-7080b8c08c09" providerId="ADAL" clId="{B4D66B56-76FB-684D-B434-EF96A27CF6A9}"/>
    <pc:docChg chg="custSel delSld modSld">
      <pc:chgData name="Kenzhekhan Abuov" userId="902729f0-25f2-45d2-93e1-7080b8c08c09" providerId="ADAL" clId="{B4D66B56-76FB-684D-B434-EF96A27CF6A9}" dt="2023-10-13T03:28:27.237" v="68" actId="2696"/>
      <pc:docMkLst>
        <pc:docMk/>
      </pc:docMkLst>
      <pc:sldChg chg="del">
        <pc:chgData name="Kenzhekhan Abuov" userId="902729f0-25f2-45d2-93e1-7080b8c08c09" providerId="ADAL" clId="{B4D66B56-76FB-684D-B434-EF96A27CF6A9}" dt="2023-10-13T03:25:13.802" v="0" actId="2696"/>
        <pc:sldMkLst>
          <pc:docMk/>
          <pc:sldMk cId="3947124730" sldId="1174"/>
        </pc:sldMkLst>
      </pc:sldChg>
      <pc:sldChg chg="delSp modSp mod">
        <pc:chgData name="Kenzhekhan Abuov" userId="902729f0-25f2-45d2-93e1-7080b8c08c09" providerId="ADAL" clId="{B4D66B56-76FB-684D-B434-EF96A27CF6A9}" dt="2023-10-13T03:27:02.869" v="54" actId="20577"/>
        <pc:sldMkLst>
          <pc:docMk/>
          <pc:sldMk cId="4036976299" sldId="1238"/>
        </pc:sldMkLst>
        <pc:spChg chg="mod">
          <ac:chgData name="Kenzhekhan Abuov" userId="902729f0-25f2-45d2-93e1-7080b8c08c09" providerId="ADAL" clId="{B4D66B56-76FB-684D-B434-EF96A27CF6A9}" dt="2023-10-13T03:27:02.869" v="54" actId="20577"/>
          <ac:spMkLst>
            <pc:docMk/>
            <pc:sldMk cId="4036976299" sldId="1238"/>
            <ac:spMk id="4" creationId="{DA879AD2-52A6-40AA-A8BF-2F1676AA7E86}"/>
          </ac:spMkLst>
        </pc:spChg>
        <pc:spChg chg="del mod">
          <ac:chgData name="Kenzhekhan Abuov" userId="902729f0-25f2-45d2-93e1-7080b8c08c09" providerId="ADAL" clId="{B4D66B56-76FB-684D-B434-EF96A27CF6A9}" dt="2023-10-13T03:26:01.110" v="7" actId="478"/>
          <ac:spMkLst>
            <pc:docMk/>
            <pc:sldMk cId="4036976299" sldId="1238"/>
            <ac:spMk id="44" creationId="{11C70560-F7F9-4DF7-8C86-9AAF420CA0E7}"/>
          </ac:spMkLst>
        </pc:spChg>
      </pc:sldChg>
      <pc:sldChg chg="addSp delSp modSp mod">
        <pc:chgData name="Kenzhekhan Abuov" userId="902729f0-25f2-45d2-93e1-7080b8c08c09" providerId="ADAL" clId="{B4D66B56-76FB-684D-B434-EF96A27CF6A9}" dt="2023-10-13T03:27:49.848" v="59" actId="478"/>
        <pc:sldMkLst>
          <pc:docMk/>
          <pc:sldMk cId="3536490213" sldId="1240"/>
        </pc:sldMkLst>
        <pc:spChg chg="add mod">
          <ac:chgData name="Kenzhekhan Abuov" userId="902729f0-25f2-45d2-93e1-7080b8c08c09" providerId="ADAL" clId="{B4D66B56-76FB-684D-B434-EF96A27CF6A9}" dt="2023-10-13T03:27:46.724" v="58" actId="1076"/>
          <ac:spMkLst>
            <pc:docMk/>
            <pc:sldMk cId="3536490213" sldId="1240"/>
            <ac:spMk id="2" creationId="{BA01393A-6273-439B-AACF-16ED5D6812F4}"/>
          </ac:spMkLst>
        </pc:spChg>
        <pc:spChg chg="del mod">
          <ac:chgData name="Kenzhekhan Abuov" userId="902729f0-25f2-45d2-93e1-7080b8c08c09" providerId="ADAL" clId="{B4D66B56-76FB-684D-B434-EF96A27CF6A9}" dt="2023-10-13T03:27:49.848" v="59" actId="478"/>
          <ac:spMkLst>
            <pc:docMk/>
            <pc:sldMk cId="3536490213" sldId="1240"/>
            <ac:spMk id="4" creationId="{DA879AD2-52A6-40AA-A8BF-2F1676AA7E86}"/>
          </ac:spMkLst>
        </pc:spChg>
        <pc:spChg chg="del">
          <ac:chgData name="Kenzhekhan Abuov" userId="902729f0-25f2-45d2-93e1-7080b8c08c09" providerId="ADAL" clId="{B4D66B56-76FB-684D-B434-EF96A27CF6A9}" dt="2023-10-13T03:27:38.671" v="57" actId="478"/>
          <ac:spMkLst>
            <pc:docMk/>
            <pc:sldMk cId="3536490213" sldId="1240"/>
            <ac:spMk id="44" creationId="{11C70560-F7F9-4DF7-8C86-9AAF420CA0E7}"/>
          </ac:spMkLst>
        </pc:spChg>
      </pc:sldChg>
      <pc:sldChg chg="addSp delSp modSp mod">
        <pc:chgData name="Kenzhekhan Abuov" userId="902729f0-25f2-45d2-93e1-7080b8c08c09" providerId="ADAL" clId="{B4D66B56-76FB-684D-B434-EF96A27CF6A9}" dt="2023-10-13T03:28:01.826" v="62"/>
        <pc:sldMkLst>
          <pc:docMk/>
          <pc:sldMk cId="2540549125" sldId="1241"/>
        </pc:sldMkLst>
        <pc:spChg chg="add mod">
          <ac:chgData name="Kenzhekhan Abuov" userId="902729f0-25f2-45d2-93e1-7080b8c08c09" providerId="ADAL" clId="{B4D66B56-76FB-684D-B434-EF96A27CF6A9}" dt="2023-10-13T03:28:01.826" v="62"/>
          <ac:spMkLst>
            <pc:docMk/>
            <pc:sldMk cId="2540549125" sldId="1241"/>
            <ac:spMk id="2" creationId="{D4699C8B-7E11-2B1E-8E84-1035F800EBFD}"/>
          </ac:spMkLst>
        </pc:spChg>
        <pc:spChg chg="del">
          <ac:chgData name="Kenzhekhan Abuov" userId="902729f0-25f2-45d2-93e1-7080b8c08c09" providerId="ADAL" clId="{B4D66B56-76FB-684D-B434-EF96A27CF6A9}" dt="2023-10-13T03:27:58.716" v="60" actId="478"/>
          <ac:spMkLst>
            <pc:docMk/>
            <pc:sldMk cId="2540549125" sldId="1241"/>
            <ac:spMk id="4" creationId="{DA879AD2-52A6-40AA-A8BF-2F1676AA7E86}"/>
          </ac:spMkLst>
        </pc:spChg>
        <pc:spChg chg="del">
          <ac:chgData name="Kenzhekhan Abuov" userId="902729f0-25f2-45d2-93e1-7080b8c08c09" providerId="ADAL" clId="{B4D66B56-76FB-684D-B434-EF96A27CF6A9}" dt="2023-10-13T03:28:00.154" v="61" actId="478"/>
          <ac:spMkLst>
            <pc:docMk/>
            <pc:sldMk cId="2540549125" sldId="1241"/>
            <ac:spMk id="44" creationId="{11C70560-F7F9-4DF7-8C86-9AAF420CA0E7}"/>
          </ac:spMkLst>
        </pc:spChg>
      </pc:sldChg>
      <pc:sldChg chg="addSp delSp modSp mod">
        <pc:chgData name="Kenzhekhan Abuov" userId="902729f0-25f2-45d2-93e1-7080b8c08c09" providerId="ADAL" clId="{B4D66B56-76FB-684D-B434-EF96A27CF6A9}" dt="2023-10-13T03:28:21.287" v="65"/>
        <pc:sldMkLst>
          <pc:docMk/>
          <pc:sldMk cId="1008030223" sldId="1242"/>
        </pc:sldMkLst>
        <pc:spChg chg="del">
          <ac:chgData name="Kenzhekhan Abuov" userId="902729f0-25f2-45d2-93e1-7080b8c08c09" providerId="ADAL" clId="{B4D66B56-76FB-684D-B434-EF96A27CF6A9}" dt="2023-10-13T03:28:17.548" v="63" actId="478"/>
          <ac:spMkLst>
            <pc:docMk/>
            <pc:sldMk cId="1008030223" sldId="1242"/>
            <ac:spMk id="4" creationId="{DA879AD2-52A6-40AA-A8BF-2F1676AA7E86}"/>
          </ac:spMkLst>
        </pc:spChg>
        <pc:spChg chg="add mod">
          <ac:chgData name="Kenzhekhan Abuov" userId="902729f0-25f2-45d2-93e1-7080b8c08c09" providerId="ADAL" clId="{B4D66B56-76FB-684D-B434-EF96A27CF6A9}" dt="2023-10-13T03:28:21.287" v="65"/>
          <ac:spMkLst>
            <pc:docMk/>
            <pc:sldMk cId="1008030223" sldId="1242"/>
            <ac:spMk id="6" creationId="{AFDDFD85-313F-36C8-9BAD-1222C65951F5}"/>
          </ac:spMkLst>
        </pc:spChg>
        <pc:spChg chg="del">
          <ac:chgData name="Kenzhekhan Abuov" userId="902729f0-25f2-45d2-93e1-7080b8c08c09" providerId="ADAL" clId="{B4D66B56-76FB-684D-B434-EF96A27CF6A9}" dt="2023-10-13T03:28:19.508" v="64" actId="478"/>
          <ac:spMkLst>
            <pc:docMk/>
            <pc:sldMk cId="1008030223" sldId="1242"/>
            <ac:spMk id="44" creationId="{11C70560-F7F9-4DF7-8C86-9AAF420CA0E7}"/>
          </ac:spMkLst>
        </pc:spChg>
      </pc:sldChg>
      <pc:sldChg chg="del">
        <pc:chgData name="Kenzhekhan Abuov" userId="902729f0-25f2-45d2-93e1-7080b8c08c09" providerId="ADAL" clId="{B4D66B56-76FB-684D-B434-EF96A27CF6A9}" dt="2023-10-13T03:28:26.105" v="67" actId="2696"/>
        <pc:sldMkLst>
          <pc:docMk/>
          <pc:sldMk cId="1869431738" sldId="1243"/>
        </pc:sldMkLst>
      </pc:sldChg>
      <pc:sldChg chg="del">
        <pc:chgData name="Kenzhekhan Abuov" userId="902729f0-25f2-45d2-93e1-7080b8c08c09" providerId="ADAL" clId="{B4D66B56-76FB-684D-B434-EF96A27CF6A9}" dt="2023-10-13T03:28:27.237" v="68" actId="2696"/>
        <pc:sldMkLst>
          <pc:docMk/>
          <pc:sldMk cId="3782631059" sldId="1244"/>
        </pc:sldMkLst>
      </pc:sldChg>
      <pc:sldChg chg="del">
        <pc:chgData name="Kenzhekhan Abuov" userId="902729f0-25f2-45d2-93e1-7080b8c08c09" providerId="ADAL" clId="{B4D66B56-76FB-684D-B434-EF96A27CF6A9}" dt="2023-10-13T03:28:24.745" v="66" actId="2696"/>
        <pc:sldMkLst>
          <pc:docMk/>
          <pc:sldMk cId="2717827193" sldId="1245"/>
        </pc:sldMkLst>
      </pc:sldChg>
    </pc:docChg>
  </pc:docChgLst>
  <pc:docChgLst>
    <pc:chgData name="Dorothea C. Lazaro" userId="S::dlazaro@adb.org::805b2f41-9d5e-4ff4-8a46-e4c17eaa3090" providerId="AD" clId="Web-{53301D59-A3EB-FA9D-4372-DB3C927D5A94}"/>
    <pc:docChg chg="modSld">
      <pc:chgData name="Dorothea C. Lazaro" userId="S::dlazaro@adb.org::805b2f41-9d5e-4ff4-8a46-e4c17eaa3090" providerId="AD" clId="Web-{53301D59-A3EB-FA9D-4372-DB3C927D5A94}" dt="2023-10-13T08:01:35.403" v="0" actId="20577"/>
      <pc:docMkLst>
        <pc:docMk/>
      </pc:docMkLst>
      <pc:sldChg chg="modSp">
        <pc:chgData name="Dorothea C. Lazaro" userId="S::dlazaro@adb.org::805b2f41-9d5e-4ff4-8a46-e4c17eaa3090" providerId="AD" clId="Web-{53301D59-A3EB-FA9D-4372-DB3C927D5A94}" dt="2023-10-13T08:01:35.403" v="0" actId="20577"/>
        <pc:sldMkLst>
          <pc:docMk/>
          <pc:sldMk cId="4036976299" sldId="1238"/>
        </pc:sldMkLst>
        <pc:spChg chg="mod">
          <ac:chgData name="Dorothea C. Lazaro" userId="S::dlazaro@adb.org::805b2f41-9d5e-4ff4-8a46-e4c17eaa3090" providerId="AD" clId="Web-{53301D59-A3EB-FA9D-4372-DB3C927D5A94}" dt="2023-10-13T08:01:35.403" v="0" actId="20577"/>
          <ac:spMkLst>
            <pc:docMk/>
            <pc:sldMk cId="4036976299" sldId="1238"/>
            <ac:spMk id="4" creationId="{DA879AD2-52A6-40AA-A8BF-2F1676AA7E86}"/>
          </ac:spMkLst>
        </pc:spChg>
      </pc:sldChg>
    </pc:docChg>
  </pc:docChgLst>
  <pc:docChgLst>
    <pc:chgData name="Xinglan Hu" userId="S::xinglanhu@adb.org::61035392-b8e6-43fa-b39d-a05287957c90" providerId="AD" clId="Web-{F1A3357A-C272-41FE-0DCB-BD8F82117101}"/>
    <pc:docChg chg="modSld">
      <pc:chgData name="Xinglan Hu" userId="S::xinglanhu@adb.org::61035392-b8e6-43fa-b39d-a05287957c90" providerId="AD" clId="Web-{F1A3357A-C272-41FE-0DCB-BD8F82117101}" dt="2023-10-16T08:21:33.311" v="1" actId="20577"/>
      <pc:docMkLst>
        <pc:docMk/>
      </pc:docMkLst>
      <pc:sldChg chg="modSp">
        <pc:chgData name="Xinglan Hu" userId="S::xinglanhu@adb.org::61035392-b8e6-43fa-b39d-a05287957c90" providerId="AD" clId="Web-{F1A3357A-C272-41FE-0DCB-BD8F82117101}" dt="2023-10-16T08:21:33.311" v="1" actId="20577"/>
        <pc:sldMkLst>
          <pc:docMk/>
          <pc:sldMk cId="3947124730" sldId="1174"/>
        </pc:sldMkLst>
        <pc:spChg chg="mod">
          <ac:chgData name="Xinglan Hu" userId="S::xinglanhu@adb.org::61035392-b8e6-43fa-b39d-a05287957c90" providerId="AD" clId="Web-{F1A3357A-C272-41FE-0DCB-BD8F82117101}" dt="2023-10-16T08:21:33.311" v="1" actId="20577"/>
          <ac:spMkLst>
            <pc:docMk/>
            <pc:sldMk cId="3947124730" sldId="1174"/>
            <ac:spMk id="40" creationId="{49CF5EB2-7572-4601-A1B3-DE28232AB88C}"/>
          </ac:spMkLst>
        </pc:spChg>
      </pc:sldChg>
    </pc:docChg>
  </pc:docChgLst>
  <pc:docChgLst>
    <pc:chgData name="Kenzhekhan Abuov" userId="902729f0-25f2-45d2-93e1-7080b8c08c09" providerId="ADAL" clId="{92DF7484-78F2-7B4D-8CBC-E98EBC6FFAEC}"/>
    <pc:docChg chg="undo custSel delSld modSld">
      <pc:chgData name="Kenzhekhan Abuov" userId="902729f0-25f2-45d2-93e1-7080b8c08c09" providerId="ADAL" clId="{92DF7484-78F2-7B4D-8CBC-E98EBC6FFAEC}" dt="2023-10-15T06:00:42.694" v="225" actId="20577"/>
      <pc:docMkLst>
        <pc:docMk/>
      </pc:docMkLst>
      <pc:sldChg chg="modSp mod">
        <pc:chgData name="Kenzhekhan Abuov" userId="902729f0-25f2-45d2-93e1-7080b8c08c09" providerId="ADAL" clId="{92DF7484-78F2-7B4D-8CBC-E98EBC6FFAEC}" dt="2023-10-15T06:00:12.638" v="214" actId="207"/>
        <pc:sldMkLst>
          <pc:docMk/>
          <pc:sldMk cId="1905903416" sldId="256"/>
        </pc:sldMkLst>
        <pc:spChg chg="mod">
          <ac:chgData name="Kenzhekhan Abuov" userId="902729f0-25f2-45d2-93e1-7080b8c08c09" providerId="ADAL" clId="{92DF7484-78F2-7B4D-8CBC-E98EBC6FFAEC}" dt="2023-10-15T06:00:12.638" v="214" actId="207"/>
          <ac:spMkLst>
            <pc:docMk/>
            <pc:sldMk cId="1905903416" sldId="256"/>
            <ac:spMk id="3" creationId="{45FC0D34-2E36-42A2-AE9E-BD858C5199A1}"/>
          </ac:spMkLst>
        </pc:spChg>
        <pc:picChg chg="mod">
          <ac:chgData name="Kenzhekhan Abuov" userId="902729f0-25f2-45d2-93e1-7080b8c08c09" providerId="ADAL" clId="{92DF7484-78F2-7B4D-8CBC-E98EBC6FFAEC}" dt="2023-10-15T05:55:36.233" v="140" actId="1076"/>
          <ac:picMkLst>
            <pc:docMk/>
            <pc:sldMk cId="1905903416" sldId="256"/>
            <ac:picMk id="4" creationId="{46F6A20A-FBBC-A14F-5A29-10ED5D8D96FA}"/>
          </ac:picMkLst>
        </pc:picChg>
      </pc:sldChg>
      <pc:sldChg chg="addSp delSp modSp mod setBg">
        <pc:chgData name="Kenzhekhan Abuov" userId="902729f0-25f2-45d2-93e1-7080b8c08c09" providerId="ADAL" clId="{92DF7484-78F2-7B4D-8CBC-E98EBC6FFAEC}" dt="2023-10-15T06:00:42.694" v="225" actId="20577"/>
        <pc:sldMkLst>
          <pc:docMk/>
          <pc:sldMk cId="4036976299" sldId="1238"/>
        </pc:sldMkLst>
        <pc:spChg chg="mod">
          <ac:chgData name="Kenzhekhan Abuov" userId="902729f0-25f2-45d2-93e1-7080b8c08c09" providerId="ADAL" clId="{92DF7484-78F2-7B4D-8CBC-E98EBC6FFAEC}" dt="2023-10-15T06:00:42.694" v="225" actId="20577"/>
          <ac:spMkLst>
            <pc:docMk/>
            <pc:sldMk cId="4036976299" sldId="1238"/>
            <ac:spMk id="4" creationId="{DA879AD2-52A6-40AA-A8BF-2F1676AA7E86}"/>
          </ac:spMkLst>
        </pc:spChg>
        <pc:spChg chg="mod">
          <ac:chgData name="Kenzhekhan Abuov" userId="902729f0-25f2-45d2-93e1-7080b8c08c09" providerId="ADAL" clId="{92DF7484-78F2-7B4D-8CBC-E98EBC6FFAEC}" dt="2023-10-15T05:44:40.604" v="26"/>
          <ac:spMkLst>
            <pc:docMk/>
            <pc:sldMk cId="4036976299" sldId="1238"/>
            <ac:spMk id="6" creationId="{D348EA3F-3DE5-2B72-D827-7ACB5F3CBC36}"/>
          </ac:spMkLst>
        </pc:spChg>
        <pc:spChg chg="add">
          <ac:chgData name="Kenzhekhan Abuov" userId="902729f0-25f2-45d2-93e1-7080b8c08c09" providerId="ADAL" clId="{92DF7484-78F2-7B4D-8CBC-E98EBC6FFAEC}" dt="2023-10-15T05:55:13.424" v="138" actId="26606"/>
          <ac:spMkLst>
            <pc:docMk/>
            <pc:sldMk cId="4036976299" sldId="1238"/>
            <ac:spMk id="10" creationId="{AB58EF07-17C2-48CF-ABB0-EEF1F17CB8F0}"/>
          </ac:spMkLst>
        </pc:spChg>
        <pc:spChg chg="add">
          <ac:chgData name="Kenzhekhan Abuov" userId="902729f0-25f2-45d2-93e1-7080b8c08c09" providerId="ADAL" clId="{92DF7484-78F2-7B4D-8CBC-E98EBC6FFAEC}" dt="2023-10-15T05:55:13.424" v="138" actId="26606"/>
          <ac:spMkLst>
            <pc:docMk/>
            <pc:sldMk cId="4036976299" sldId="1238"/>
            <ac:spMk id="13" creationId="{0671A8AE-40A1-4631-A6B8-581AFF065482}"/>
          </ac:spMkLst>
        </pc:spChg>
        <pc:spChg chg="add">
          <ac:chgData name="Kenzhekhan Abuov" userId="902729f0-25f2-45d2-93e1-7080b8c08c09" providerId="ADAL" clId="{92DF7484-78F2-7B4D-8CBC-E98EBC6FFAEC}" dt="2023-10-15T05:55:13.424" v="138" actId="26606"/>
          <ac:spMkLst>
            <pc:docMk/>
            <pc:sldMk cId="4036976299" sldId="1238"/>
            <ac:spMk id="17" creationId="{AF2F604E-43BE-4DC3-B983-E071523364F8}"/>
          </ac:spMkLst>
        </pc:spChg>
        <pc:spChg chg="add">
          <ac:chgData name="Kenzhekhan Abuov" userId="902729f0-25f2-45d2-93e1-7080b8c08c09" providerId="ADAL" clId="{92DF7484-78F2-7B4D-8CBC-E98EBC6FFAEC}" dt="2023-10-15T05:55:13.424" v="138" actId="26606"/>
          <ac:spMkLst>
            <pc:docMk/>
            <pc:sldMk cId="4036976299" sldId="1238"/>
            <ac:spMk id="19" creationId="{08C9B587-E65E-4B52-B37C-ABEBB6E87928}"/>
          </ac:spMkLst>
        </pc:spChg>
        <pc:spChg chg="del mod">
          <ac:chgData name="Kenzhekhan Abuov" userId="902729f0-25f2-45d2-93e1-7080b8c08c09" providerId="ADAL" clId="{92DF7484-78F2-7B4D-8CBC-E98EBC6FFAEC}" dt="2023-10-15T05:42:22.178" v="7" actId="478"/>
          <ac:spMkLst>
            <pc:docMk/>
            <pc:sldMk cId="4036976299" sldId="1238"/>
            <ac:spMk id="21" creationId="{5D382D9A-8590-FE69-AF95-CFDB49745155}"/>
          </ac:spMkLst>
        </pc:spChg>
        <pc:grpChg chg="add del mod">
          <ac:chgData name="Kenzhekhan Abuov" userId="902729f0-25f2-45d2-93e1-7080b8c08c09" providerId="ADAL" clId="{92DF7484-78F2-7B4D-8CBC-E98EBC6FFAEC}" dt="2023-10-15T05:49:27.626" v="90" actId="21"/>
          <ac:grpSpMkLst>
            <pc:docMk/>
            <pc:sldMk cId="4036976299" sldId="1238"/>
            <ac:grpSpMk id="3" creationId="{EDC29F13-42E9-3276-39E9-27698BF9D7EF}"/>
          </ac:grpSpMkLst>
        </pc:grpChg>
        <pc:picChg chg="del mod">
          <ac:chgData name="Kenzhekhan Abuov" userId="902729f0-25f2-45d2-93e1-7080b8c08c09" providerId="ADAL" clId="{92DF7484-78F2-7B4D-8CBC-E98EBC6FFAEC}" dt="2023-10-15T05:49:44.229" v="95" actId="21"/>
          <ac:picMkLst>
            <pc:docMk/>
            <pc:sldMk cId="4036976299" sldId="1238"/>
            <ac:picMk id="2" creationId="{F3A162E8-02FF-2521-1D78-DA44F6781D8A}"/>
          </ac:picMkLst>
        </pc:picChg>
        <pc:picChg chg="del">
          <ac:chgData name="Kenzhekhan Abuov" userId="902729f0-25f2-45d2-93e1-7080b8c08c09" providerId="ADAL" clId="{92DF7484-78F2-7B4D-8CBC-E98EBC6FFAEC}" dt="2023-10-15T05:41:42.111" v="0" actId="478"/>
          <ac:picMkLst>
            <pc:docMk/>
            <pc:sldMk cId="4036976299" sldId="1238"/>
            <ac:picMk id="5" creationId="{42F20965-0577-E078-7B89-34661661220C}"/>
          </ac:picMkLst>
        </pc:picChg>
        <pc:picChg chg="mod">
          <ac:chgData name="Kenzhekhan Abuov" userId="902729f0-25f2-45d2-93e1-7080b8c08c09" providerId="ADAL" clId="{92DF7484-78F2-7B4D-8CBC-E98EBC6FFAEC}" dt="2023-10-15T05:44:40.604" v="26"/>
          <ac:picMkLst>
            <pc:docMk/>
            <pc:sldMk cId="4036976299" sldId="1238"/>
            <ac:picMk id="7" creationId="{F2055220-1154-422D-8B3D-20F60AC4AA5E}"/>
          </ac:picMkLst>
        </pc:picChg>
        <pc:picChg chg="add mod">
          <ac:chgData name="Kenzhekhan Abuov" userId="902729f0-25f2-45d2-93e1-7080b8c08c09" providerId="ADAL" clId="{92DF7484-78F2-7B4D-8CBC-E98EBC6FFAEC}" dt="2023-10-15T05:57:10.114" v="170" actId="1076"/>
          <ac:picMkLst>
            <pc:docMk/>
            <pc:sldMk cId="4036976299" sldId="1238"/>
            <ac:picMk id="8" creationId="{3C53D918-7F90-9B53-F586-3E9FBC19D556}"/>
          </ac:picMkLst>
        </pc:picChg>
        <pc:picChg chg="add mod">
          <ac:chgData name="Kenzhekhan Abuov" userId="902729f0-25f2-45d2-93e1-7080b8c08c09" providerId="ADAL" clId="{92DF7484-78F2-7B4D-8CBC-E98EBC6FFAEC}" dt="2023-10-15T05:55:43.233" v="142" actId="1076"/>
          <ac:picMkLst>
            <pc:docMk/>
            <pc:sldMk cId="4036976299" sldId="1238"/>
            <ac:picMk id="9" creationId="{9E45218D-356F-913A-BDDD-3A5E6170DC6E}"/>
          </ac:picMkLst>
        </pc:picChg>
        <pc:picChg chg="del mod">
          <ac:chgData name="Kenzhekhan Abuov" userId="902729f0-25f2-45d2-93e1-7080b8c08c09" providerId="ADAL" clId="{92DF7484-78F2-7B4D-8CBC-E98EBC6FFAEC}" dt="2023-10-15T05:50:20.184" v="103" actId="21"/>
          <ac:picMkLst>
            <pc:docMk/>
            <pc:sldMk cId="4036976299" sldId="1238"/>
            <ac:picMk id="15" creationId="{44EBD577-4E4B-BB97-B052-6F35760F3BE9}"/>
          </ac:picMkLst>
        </pc:picChg>
        <pc:picChg chg="del mod">
          <ac:chgData name="Kenzhekhan Abuov" userId="902729f0-25f2-45d2-93e1-7080b8c08c09" providerId="ADAL" clId="{92DF7484-78F2-7B4D-8CBC-E98EBC6FFAEC}" dt="2023-10-15T05:45:33.216" v="32" actId="478"/>
          <ac:picMkLst>
            <pc:docMk/>
            <pc:sldMk cId="4036976299" sldId="1238"/>
            <ac:picMk id="16" creationId="{6B297650-5F7A-A501-BEBE-6B262C893E10}"/>
          </ac:picMkLst>
        </pc:picChg>
        <pc:picChg chg="del mod">
          <ac:chgData name="Kenzhekhan Abuov" userId="902729f0-25f2-45d2-93e1-7080b8c08c09" providerId="ADAL" clId="{92DF7484-78F2-7B4D-8CBC-E98EBC6FFAEC}" dt="2023-10-15T05:50:07.042" v="100" actId="21"/>
          <ac:picMkLst>
            <pc:docMk/>
            <pc:sldMk cId="4036976299" sldId="1238"/>
            <ac:picMk id="20" creationId="{3794BA2A-0185-51BC-DAD2-9AFF8C4A318F}"/>
          </ac:picMkLst>
        </pc:picChg>
      </pc:sldChg>
      <pc:sldChg chg="addSp delSp modSp mod">
        <pc:chgData name="Kenzhekhan Abuov" userId="902729f0-25f2-45d2-93e1-7080b8c08c09" providerId="ADAL" clId="{92DF7484-78F2-7B4D-8CBC-E98EBC6FFAEC}" dt="2023-10-15T05:58:24.064" v="171" actId="1076"/>
        <pc:sldMkLst>
          <pc:docMk/>
          <pc:sldMk cId="3536490213" sldId="1240"/>
        </pc:sldMkLst>
        <pc:spChg chg="mod">
          <ac:chgData name="Kenzhekhan Abuov" userId="902729f0-25f2-45d2-93e1-7080b8c08c09" providerId="ADAL" clId="{92DF7484-78F2-7B4D-8CBC-E98EBC6FFAEC}" dt="2023-10-15T05:56:02.372" v="158" actId="20577"/>
          <ac:spMkLst>
            <pc:docMk/>
            <pc:sldMk cId="3536490213" sldId="1240"/>
            <ac:spMk id="2" creationId="{BA01393A-6273-439B-AACF-16ED5D6812F4}"/>
          </ac:spMkLst>
        </pc:spChg>
        <pc:spChg chg="mod">
          <ac:chgData name="Kenzhekhan Abuov" userId="902729f0-25f2-45d2-93e1-7080b8c08c09" providerId="ADAL" clId="{92DF7484-78F2-7B4D-8CBC-E98EBC6FFAEC}" dt="2023-10-15T05:49:30.898" v="91"/>
          <ac:spMkLst>
            <pc:docMk/>
            <pc:sldMk cId="3536490213" sldId="1240"/>
            <ac:spMk id="5" creationId="{37110A25-2150-3892-DC85-5803616F4A4E}"/>
          </ac:spMkLst>
        </pc:spChg>
        <pc:spChg chg="del">
          <ac:chgData name="Kenzhekhan Abuov" userId="902729f0-25f2-45d2-93e1-7080b8c08c09" providerId="ADAL" clId="{92DF7484-78F2-7B4D-8CBC-E98EBC6FFAEC}" dt="2023-10-15T05:49:19.194" v="89" actId="478"/>
          <ac:spMkLst>
            <pc:docMk/>
            <pc:sldMk cId="3536490213" sldId="1240"/>
            <ac:spMk id="7" creationId="{EDA04A64-AFEA-4C38-EBCC-5E53E471A95A}"/>
          </ac:spMkLst>
        </pc:spChg>
        <pc:spChg chg="del mod">
          <ac:chgData name="Kenzhekhan Abuov" userId="902729f0-25f2-45d2-93e1-7080b8c08c09" providerId="ADAL" clId="{92DF7484-78F2-7B4D-8CBC-E98EBC6FFAEC}" dt="2023-10-15T05:49:10.399" v="83" actId="478"/>
          <ac:spMkLst>
            <pc:docMk/>
            <pc:sldMk cId="3536490213" sldId="1240"/>
            <ac:spMk id="19" creationId="{4E930330-317D-CFAF-054C-CD1361276C02}"/>
          </ac:spMkLst>
        </pc:spChg>
        <pc:spChg chg="del mod">
          <ac:chgData name="Kenzhekhan Abuov" userId="902729f0-25f2-45d2-93e1-7080b8c08c09" providerId="ADAL" clId="{92DF7484-78F2-7B4D-8CBC-E98EBC6FFAEC}" dt="2023-10-15T05:48:09.020" v="41" actId="478"/>
          <ac:spMkLst>
            <pc:docMk/>
            <pc:sldMk cId="3536490213" sldId="1240"/>
            <ac:spMk id="47" creationId="{A5393874-404E-876A-604E-1FA8515E2316}"/>
          </ac:spMkLst>
        </pc:spChg>
        <pc:spChg chg="mod">
          <ac:chgData name="Kenzhekhan Abuov" userId="902729f0-25f2-45d2-93e1-7080b8c08c09" providerId="ADAL" clId="{92DF7484-78F2-7B4D-8CBC-E98EBC6FFAEC}" dt="2023-10-15T05:44:30.905" v="24" actId="164"/>
          <ac:spMkLst>
            <pc:docMk/>
            <pc:sldMk cId="3536490213" sldId="1240"/>
            <ac:spMk id="49" creationId="{603DF112-AD04-E885-6EE1-55DD49F7CB5A}"/>
          </ac:spMkLst>
        </pc:spChg>
        <pc:spChg chg="del mod">
          <ac:chgData name="Kenzhekhan Abuov" userId="902729f0-25f2-45d2-93e1-7080b8c08c09" providerId="ADAL" clId="{92DF7484-78F2-7B4D-8CBC-E98EBC6FFAEC}" dt="2023-10-15T05:49:06.685" v="80" actId="478"/>
          <ac:spMkLst>
            <pc:docMk/>
            <pc:sldMk cId="3536490213" sldId="1240"/>
            <ac:spMk id="50" creationId="{763F5D55-A26B-06F3-DF6B-BF6DCE59942D}"/>
          </ac:spMkLst>
        </pc:spChg>
        <pc:spChg chg="del">
          <ac:chgData name="Kenzhekhan Abuov" userId="902729f0-25f2-45d2-93e1-7080b8c08c09" providerId="ADAL" clId="{92DF7484-78F2-7B4D-8CBC-E98EBC6FFAEC}" dt="2023-10-15T05:48:17.600" v="48" actId="478"/>
          <ac:spMkLst>
            <pc:docMk/>
            <pc:sldMk cId="3536490213" sldId="1240"/>
            <ac:spMk id="60" creationId="{DDBC069C-8BC1-3445-0663-6DA3BFF94362}"/>
          </ac:spMkLst>
        </pc:spChg>
        <pc:spChg chg="del mod">
          <ac:chgData name="Kenzhekhan Abuov" userId="902729f0-25f2-45d2-93e1-7080b8c08c09" providerId="ADAL" clId="{92DF7484-78F2-7B4D-8CBC-E98EBC6FFAEC}" dt="2023-10-15T05:48:27.283" v="55" actId="478"/>
          <ac:spMkLst>
            <pc:docMk/>
            <pc:sldMk cId="3536490213" sldId="1240"/>
            <ac:spMk id="61" creationId="{CA877F99-FBCC-FD70-B3AF-6021144BF5D9}"/>
          </ac:spMkLst>
        </pc:spChg>
        <pc:spChg chg="del mod">
          <ac:chgData name="Kenzhekhan Abuov" userId="902729f0-25f2-45d2-93e1-7080b8c08c09" providerId="ADAL" clId="{92DF7484-78F2-7B4D-8CBC-E98EBC6FFAEC}" dt="2023-10-15T05:48:21.428" v="51" actId="478"/>
          <ac:spMkLst>
            <pc:docMk/>
            <pc:sldMk cId="3536490213" sldId="1240"/>
            <ac:spMk id="62" creationId="{73DCB155-9BF3-0D28-0D5C-9D62912E7CBB}"/>
          </ac:spMkLst>
        </pc:spChg>
        <pc:spChg chg="del mod">
          <ac:chgData name="Kenzhekhan Abuov" userId="902729f0-25f2-45d2-93e1-7080b8c08c09" providerId="ADAL" clId="{92DF7484-78F2-7B4D-8CBC-E98EBC6FFAEC}" dt="2023-10-15T05:48:15.296" v="46" actId="478"/>
          <ac:spMkLst>
            <pc:docMk/>
            <pc:sldMk cId="3536490213" sldId="1240"/>
            <ac:spMk id="67" creationId="{F50FACBF-3A85-080F-5475-6DE3B505196F}"/>
          </ac:spMkLst>
        </pc:spChg>
        <pc:spChg chg="del">
          <ac:chgData name="Kenzhekhan Abuov" userId="902729f0-25f2-45d2-93e1-7080b8c08c09" providerId="ADAL" clId="{92DF7484-78F2-7B4D-8CBC-E98EBC6FFAEC}" dt="2023-10-15T05:48:23.687" v="52" actId="478"/>
          <ac:spMkLst>
            <pc:docMk/>
            <pc:sldMk cId="3536490213" sldId="1240"/>
            <ac:spMk id="68" creationId="{014F3368-D3C1-997E-3967-0E91C1575D1E}"/>
          </ac:spMkLst>
        </pc:spChg>
        <pc:spChg chg="del">
          <ac:chgData name="Kenzhekhan Abuov" userId="902729f0-25f2-45d2-93e1-7080b8c08c09" providerId="ADAL" clId="{92DF7484-78F2-7B4D-8CBC-E98EBC6FFAEC}" dt="2023-10-15T05:48:24.942" v="53" actId="478"/>
          <ac:spMkLst>
            <pc:docMk/>
            <pc:sldMk cId="3536490213" sldId="1240"/>
            <ac:spMk id="69" creationId="{4AE8C30D-977C-D5D3-2025-1F5D00D957E5}"/>
          </ac:spMkLst>
        </pc:spChg>
        <pc:spChg chg="del">
          <ac:chgData name="Kenzhekhan Abuov" userId="902729f0-25f2-45d2-93e1-7080b8c08c09" providerId="ADAL" clId="{92DF7484-78F2-7B4D-8CBC-E98EBC6FFAEC}" dt="2023-10-15T05:48:19.056" v="49" actId="478"/>
          <ac:spMkLst>
            <pc:docMk/>
            <pc:sldMk cId="3536490213" sldId="1240"/>
            <ac:spMk id="70" creationId="{BF522F7A-1F78-08F3-EF72-AD44AC4BBA9E}"/>
          </ac:spMkLst>
        </pc:spChg>
        <pc:spChg chg="del">
          <ac:chgData name="Kenzhekhan Abuov" userId="902729f0-25f2-45d2-93e1-7080b8c08c09" providerId="ADAL" clId="{92DF7484-78F2-7B4D-8CBC-E98EBC6FFAEC}" dt="2023-10-15T05:48:28.528" v="56" actId="478"/>
          <ac:spMkLst>
            <pc:docMk/>
            <pc:sldMk cId="3536490213" sldId="1240"/>
            <ac:spMk id="71" creationId="{392F8383-156D-4FBF-004D-86A2EDB1A5A2}"/>
          </ac:spMkLst>
        </pc:spChg>
        <pc:spChg chg="del">
          <ac:chgData name="Kenzhekhan Abuov" userId="902729f0-25f2-45d2-93e1-7080b8c08c09" providerId="ADAL" clId="{92DF7484-78F2-7B4D-8CBC-E98EBC6FFAEC}" dt="2023-10-15T05:48:29.645" v="57" actId="478"/>
          <ac:spMkLst>
            <pc:docMk/>
            <pc:sldMk cId="3536490213" sldId="1240"/>
            <ac:spMk id="72" creationId="{88E9454A-8AA2-FBAF-7F86-B685B89EE6EE}"/>
          </ac:spMkLst>
        </pc:spChg>
        <pc:spChg chg="del">
          <ac:chgData name="Kenzhekhan Abuov" userId="902729f0-25f2-45d2-93e1-7080b8c08c09" providerId="ADAL" clId="{92DF7484-78F2-7B4D-8CBC-E98EBC6FFAEC}" dt="2023-10-15T05:48:32.866" v="58" actId="478"/>
          <ac:spMkLst>
            <pc:docMk/>
            <pc:sldMk cId="3536490213" sldId="1240"/>
            <ac:spMk id="73" creationId="{B84DCCE5-605B-60DB-E897-CFB6F221EE6B}"/>
          </ac:spMkLst>
        </pc:spChg>
        <pc:spChg chg="del">
          <ac:chgData name="Kenzhekhan Abuov" userId="902729f0-25f2-45d2-93e1-7080b8c08c09" providerId="ADAL" clId="{92DF7484-78F2-7B4D-8CBC-E98EBC6FFAEC}" dt="2023-10-15T05:48:36.177" v="61" actId="478"/>
          <ac:spMkLst>
            <pc:docMk/>
            <pc:sldMk cId="3536490213" sldId="1240"/>
            <ac:spMk id="76" creationId="{54640D63-6FE5-213A-F1E9-D83F911ED295}"/>
          </ac:spMkLst>
        </pc:spChg>
        <pc:spChg chg="del mod">
          <ac:chgData name="Kenzhekhan Abuov" userId="902729f0-25f2-45d2-93e1-7080b8c08c09" providerId="ADAL" clId="{92DF7484-78F2-7B4D-8CBC-E98EBC6FFAEC}" dt="2023-10-15T05:48:35.304" v="60" actId="478"/>
          <ac:spMkLst>
            <pc:docMk/>
            <pc:sldMk cId="3536490213" sldId="1240"/>
            <ac:spMk id="77" creationId="{6DD37A13-0BFC-FE42-36A1-E67F19937563}"/>
          </ac:spMkLst>
        </pc:spChg>
        <pc:spChg chg="del">
          <ac:chgData name="Kenzhekhan Abuov" userId="902729f0-25f2-45d2-93e1-7080b8c08c09" providerId="ADAL" clId="{92DF7484-78F2-7B4D-8CBC-E98EBC6FFAEC}" dt="2023-10-15T05:48:39.576" v="62" actId="478"/>
          <ac:spMkLst>
            <pc:docMk/>
            <pc:sldMk cId="3536490213" sldId="1240"/>
            <ac:spMk id="78" creationId="{E2F6CEB9-C1C4-D76C-BEDA-E454B9C8C826}"/>
          </ac:spMkLst>
        </pc:spChg>
        <pc:spChg chg="del mod">
          <ac:chgData name="Kenzhekhan Abuov" userId="902729f0-25f2-45d2-93e1-7080b8c08c09" providerId="ADAL" clId="{92DF7484-78F2-7B4D-8CBC-E98EBC6FFAEC}" dt="2023-10-15T05:48:42.070" v="64" actId="478"/>
          <ac:spMkLst>
            <pc:docMk/>
            <pc:sldMk cId="3536490213" sldId="1240"/>
            <ac:spMk id="81" creationId="{A3FF2F2D-FFEF-BD49-1428-FDBB70EBB921}"/>
          </ac:spMkLst>
        </pc:spChg>
        <pc:spChg chg="del">
          <ac:chgData name="Kenzhekhan Abuov" userId="902729f0-25f2-45d2-93e1-7080b8c08c09" providerId="ADAL" clId="{92DF7484-78F2-7B4D-8CBC-E98EBC6FFAEC}" dt="2023-10-15T05:48:49.676" v="69" actId="478"/>
          <ac:spMkLst>
            <pc:docMk/>
            <pc:sldMk cId="3536490213" sldId="1240"/>
            <ac:spMk id="82" creationId="{039F62F7-5A74-8637-356E-C71336526B93}"/>
          </ac:spMkLst>
        </pc:spChg>
        <pc:spChg chg="del">
          <ac:chgData name="Kenzhekhan Abuov" userId="902729f0-25f2-45d2-93e1-7080b8c08c09" providerId="ADAL" clId="{92DF7484-78F2-7B4D-8CBC-E98EBC6FFAEC}" dt="2023-10-15T05:48:47.497" v="68" actId="478"/>
          <ac:spMkLst>
            <pc:docMk/>
            <pc:sldMk cId="3536490213" sldId="1240"/>
            <ac:spMk id="83" creationId="{87D75927-634B-41EC-9AAC-0C4D39B05C7C}"/>
          </ac:spMkLst>
        </pc:spChg>
        <pc:spChg chg="del mod">
          <ac:chgData name="Kenzhekhan Abuov" userId="902729f0-25f2-45d2-93e1-7080b8c08c09" providerId="ADAL" clId="{92DF7484-78F2-7B4D-8CBC-E98EBC6FFAEC}" dt="2023-10-15T05:48:46.207" v="67" actId="478"/>
          <ac:spMkLst>
            <pc:docMk/>
            <pc:sldMk cId="3536490213" sldId="1240"/>
            <ac:spMk id="84" creationId="{1C4DED39-E0C3-CDF9-83EE-45689563EF21}"/>
          </ac:spMkLst>
        </pc:spChg>
        <pc:spChg chg="del">
          <ac:chgData name="Kenzhekhan Abuov" userId="902729f0-25f2-45d2-93e1-7080b8c08c09" providerId="ADAL" clId="{92DF7484-78F2-7B4D-8CBC-E98EBC6FFAEC}" dt="2023-10-15T05:48:50.864" v="70" actId="478"/>
          <ac:spMkLst>
            <pc:docMk/>
            <pc:sldMk cId="3536490213" sldId="1240"/>
            <ac:spMk id="85" creationId="{0C279D52-2CA8-6217-B5CC-05585B01E3B6}"/>
          </ac:spMkLst>
        </pc:spChg>
        <pc:spChg chg="del">
          <ac:chgData name="Kenzhekhan Abuov" userId="902729f0-25f2-45d2-93e1-7080b8c08c09" providerId="ADAL" clId="{92DF7484-78F2-7B4D-8CBC-E98EBC6FFAEC}" dt="2023-10-15T05:48:53.361" v="71" actId="478"/>
          <ac:spMkLst>
            <pc:docMk/>
            <pc:sldMk cId="3536490213" sldId="1240"/>
            <ac:spMk id="86" creationId="{A8B3EBB8-6635-552D-8141-31F068D3EDFE}"/>
          </ac:spMkLst>
        </pc:spChg>
        <pc:spChg chg="del mod">
          <ac:chgData name="Kenzhekhan Abuov" userId="902729f0-25f2-45d2-93e1-7080b8c08c09" providerId="ADAL" clId="{92DF7484-78F2-7B4D-8CBC-E98EBC6FFAEC}" dt="2023-10-15T05:48:02.428" v="37" actId="478"/>
          <ac:spMkLst>
            <pc:docMk/>
            <pc:sldMk cId="3536490213" sldId="1240"/>
            <ac:spMk id="89" creationId="{309B3D17-66B5-1287-34A8-7FF5B29D5B94}"/>
          </ac:spMkLst>
        </pc:spChg>
        <pc:spChg chg="del">
          <ac:chgData name="Kenzhekhan Abuov" userId="902729f0-25f2-45d2-93e1-7080b8c08c09" providerId="ADAL" clId="{92DF7484-78F2-7B4D-8CBC-E98EBC6FFAEC}" dt="2023-10-15T05:48:55.660" v="72" actId="478"/>
          <ac:spMkLst>
            <pc:docMk/>
            <pc:sldMk cId="3536490213" sldId="1240"/>
            <ac:spMk id="90" creationId="{60FF27D7-B1FE-CA43-D694-04A8BCBD4917}"/>
          </ac:spMkLst>
        </pc:spChg>
        <pc:grpChg chg="add del mod">
          <ac:chgData name="Kenzhekhan Abuov" userId="902729f0-25f2-45d2-93e1-7080b8c08c09" providerId="ADAL" clId="{92DF7484-78F2-7B4D-8CBC-E98EBC6FFAEC}" dt="2023-10-15T05:44:37.507" v="25" actId="21"/>
          <ac:grpSpMkLst>
            <pc:docMk/>
            <pc:sldMk cId="3536490213" sldId="1240"/>
            <ac:grpSpMk id="3" creationId="{3DAEEC1C-B80E-E207-48C4-FD2667F42776}"/>
          </ac:grpSpMkLst>
        </pc:grpChg>
        <pc:grpChg chg="add mod">
          <ac:chgData name="Kenzhekhan Abuov" userId="902729f0-25f2-45d2-93e1-7080b8c08c09" providerId="ADAL" clId="{92DF7484-78F2-7B4D-8CBC-E98EBC6FFAEC}" dt="2023-10-15T05:53:01.350" v="135" actId="14100"/>
          <ac:grpSpMkLst>
            <pc:docMk/>
            <pc:sldMk cId="3536490213" sldId="1240"/>
            <ac:grpSpMk id="4" creationId="{00DE8AD3-029F-F439-55FF-B3256D7967F7}"/>
          </ac:grpSpMkLst>
        </pc:grpChg>
        <pc:grpChg chg="del">
          <ac:chgData name="Kenzhekhan Abuov" userId="902729f0-25f2-45d2-93e1-7080b8c08c09" providerId="ADAL" clId="{92DF7484-78F2-7B4D-8CBC-E98EBC6FFAEC}" dt="2023-10-15T05:49:13.504" v="85" actId="478"/>
          <ac:grpSpMkLst>
            <pc:docMk/>
            <pc:sldMk cId="3536490213" sldId="1240"/>
            <ac:grpSpMk id="38" creationId="{47C7F5BD-319C-5F77-7CE9-4F8C76D7DDF1}"/>
          </ac:grpSpMkLst>
        </pc:grpChg>
        <pc:grpChg chg="del">
          <ac:chgData name="Kenzhekhan Abuov" userId="902729f0-25f2-45d2-93e1-7080b8c08c09" providerId="ADAL" clId="{92DF7484-78F2-7B4D-8CBC-E98EBC6FFAEC}" dt="2023-10-15T05:49:16.790" v="87" actId="478"/>
          <ac:grpSpMkLst>
            <pc:docMk/>
            <pc:sldMk cId="3536490213" sldId="1240"/>
            <ac:grpSpMk id="39" creationId="{77FF5035-2A44-3B67-4774-7DA02FF50036}"/>
          </ac:grpSpMkLst>
        </pc:grpChg>
        <pc:picChg chg="mod">
          <ac:chgData name="Kenzhekhan Abuov" userId="902729f0-25f2-45d2-93e1-7080b8c08c09" providerId="ADAL" clId="{92DF7484-78F2-7B4D-8CBC-E98EBC6FFAEC}" dt="2023-10-15T05:49:30.898" v="91"/>
          <ac:picMkLst>
            <pc:docMk/>
            <pc:sldMk cId="3536490213" sldId="1240"/>
            <ac:picMk id="6" creationId="{1678587F-3BDA-1631-5D5A-A8CEAC3BE9F2}"/>
          </ac:picMkLst>
        </pc:picChg>
        <pc:picChg chg="add mod">
          <ac:chgData name="Kenzhekhan Abuov" userId="902729f0-25f2-45d2-93e1-7080b8c08c09" providerId="ADAL" clId="{92DF7484-78F2-7B4D-8CBC-E98EBC6FFAEC}" dt="2023-10-15T05:58:24.064" v="171" actId="1076"/>
          <ac:picMkLst>
            <pc:docMk/>
            <pc:sldMk cId="3536490213" sldId="1240"/>
            <ac:picMk id="8" creationId="{9CD8BF36-8788-894D-048E-33DE66C619FA}"/>
          </ac:picMkLst>
        </pc:picChg>
        <pc:picChg chg="add mod">
          <ac:chgData name="Kenzhekhan Abuov" userId="902729f0-25f2-45d2-93e1-7080b8c08c09" providerId="ADAL" clId="{92DF7484-78F2-7B4D-8CBC-E98EBC6FFAEC}" dt="2023-10-15T05:52:32.030" v="129" actId="1076"/>
          <ac:picMkLst>
            <pc:docMk/>
            <pc:sldMk cId="3536490213" sldId="1240"/>
            <ac:picMk id="10" creationId="{E3A9426B-1193-984E-C596-C4C703B1D04C}"/>
          </ac:picMkLst>
        </pc:picChg>
        <pc:picChg chg="add mod">
          <ac:chgData name="Kenzhekhan Abuov" userId="902729f0-25f2-45d2-93e1-7080b8c08c09" providerId="ADAL" clId="{92DF7484-78F2-7B4D-8CBC-E98EBC6FFAEC}" dt="2023-10-15T05:52:41.461" v="131" actId="1076"/>
          <ac:picMkLst>
            <pc:docMk/>
            <pc:sldMk cId="3536490213" sldId="1240"/>
            <ac:picMk id="11" creationId="{206EB1AA-0C67-A165-5DBC-B2988CF6DAC8}"/>
          </ac:picMkLst>
        </pc:picChg>
        <pc:picChg chg="add mod">
          <ac:chgData name="Kenzhekhan Abuov" userId="902729f0-25f2-45d2-93e1-7080b8c08c09" providerId="ADAL" clId="{92DF7484-78F2-7B4D-8CBC-E98EBC6FFAEC}" dt="2023-10-15T05:52:19.310" v="127" actId="1076"/>
          <ac:picMkLst>
            <pc:docMk/>
            <pc:sldMk cId="3536490213" sldId="1240"/>
            <ac:picMk id="12" creationId="{720E4375-8F56-B524-87F2-B3ABC05E28EF}"/>
          </ac:picMkLst>
        </pc:picChg>
        <pc:picChg chg="del">
          <ac:chgData name="Kenzhekhan Abuov" userId="902729f0-25f2-45d2-93e1-7080b8c08c09" providerId="ADAL" clId="{92DF7484-78F2-7B4D-8CBC-E98EBC6FFAEC}" dt="2023-10-15T05:48:11.603" v="43" actId="478"/>
          <ac:picMkLst>
            <pc:docMk/>
            <pc:sldMk cId="3536490213" sldId="1240"/>
            <ac:picMk id="30" creationId="{28B7E403-F3CC-FF7B-E707-42F0B6D86960}"/>
          </ac:picMkLst>
        </pc:picChg>
        <pc:picChg chg="del">
          <ac:chgData name="Kenzhekhan Abuov" userId="902729f0-25f2-45d2-93e1-7080b8c08c09" providerId="ADAL" clId="{92DF7484-78F2-7B4D-8CBC-E98EBC6FFAEC}" dt="2023-10-15T05:48:12.613" v="44" actId="478"/>
          <ac:picMkLst>
            <pc:docMk/>
            <pc:sldMk cId="3536490213" sldId="1240"/>
            <ac:picMk id="31" creationId="{48E04AA9-C244-34F5-E86A-95B6F5918010}"/>
          </ac:picMkLst>
        </pc:picChg>
        <pc:picChg chg="del">
          <ac:chgData name="Kenzhekhan Abuov" userId="902729f0-25f2-45d2-93e1-7080b8c08c09" providerId="ADAL" clId="{92DF7484-78F2-7B4D-8CBC-E98EBC6FFAEC}" dt="2023-10-15T05:48:05.749" v="39" actId="478"/>
          <ac:picMkLst>
            <pc:docMk/>
            <pc:sldMk cId="3536490213" sldId="1240"/>
            <ac:picMk id="32" creationId="{EDF40042-881D-CAE6-4DC3-5DF253DEA584}"/>
          </ac:picMkLst>
        </pc:picChg>
        <pc:picChg chg="del">
          <ac:chgData name="Kenzhekhan Abuov" userId="902729f0-25f2-45d2-93e1-7080b8c08c09" providerId="ADAL" clId="{92DF7484-78F2-7B4D-8CBC-E98EBC6FFAEC}" dt="2023-10-15T05:48:04.612" v="38" actId="478"/>
          <ac:picMkLst>
            <pc:docMk/>
            <pc:sldMk cId="3536490213" sldId="1240"/>
            <ac:picMk id="33" creationId="{B57B91DB-5BAE-EA62-FB6B-00A0DB717863}"/>
          </ac:picMkLst>
        </pc:picChg>
        <pc:picChg chg="del">
          <ac:chgData name="Kenzhekhan Abuov" userId="902729f0-25f2-45d2-93e1-7080b8c08c09" providerId="ADAL" clId="{92DF7484-78F2-7B4D-8CBC-E98EBC6FFAEC}" dt="2023-10-15T05:48:59.032" v="74" actId="478"/>
          <ac:picMkLst>
            <pc:docMk/>
            <pc:sldMk cId="3536490213" sldId="1240"/>
            <ac:picMk id="52" creationId="{D167E8EC-50E5-F50F-C684-E1F9EE9849C2}"/>
          </ac:picMkLst>
        </pc:picChg>
        <pc:picChg chg="del">
          <ac:chgData name="Kenzhekhan Abuov" userId="902729f0-25f2-45d2-93e1-7080b8c08c09" providerId="ADAL" clId="{92DF7484-78F2-7B4D-8CBC-E98EBC6FFAEC}" dt="2023-10-15T05:49:00.202" v="75" actId="478"/>
          <ac:picMkLst>
            <pc:docMk/>
            <pc:sldMk cId="3536490213" sldId="1240"/>
            <ac:picMk id="53" creationId="{443B3AF0-B7F6-91B9-78D6-5BB681CD09D1}"/>
          </ac:picMkLst>
        </pc:picChg>
        <pc:picChg chg="del">
          <ac:chgData name="Kenzhekhan Abuov" userId="902729f0-25f2-45d2-93e1-7080b8c08c09" providerId="ADAL" clId="{92DF7484-78F2-7B4D-8CBC-E98EBC6FFAEC}" dt="2023-10-15T05:49:01.265" v="76" actId="478"/>
          <ac:picMkLst>
            <pc:docMk/>
            <pc:sldMk cId="3536490213" sldId="1240"/>
            <ac:picMk id="54" creationId="{7352E5A2-3A5F-2238-F449-43D05EFDE4DD}"/>
          </ac:picMkLst>
        </pc:picChg>
        <pc:picChg chg="del">
          <ac:chgData name="Kenzhekhan Abuov" userId="902729f0-25f2-45d2-93e1-7080b8c08c09" providerId="ADAL" clId="{92DF7484-78F2-7B4D-8CBC-E98EBC6FFAEC}" dt="2023-10-15T05:48:57.644" v="73" actId="478"/>
          <ac:picMkLst>
            <pc:docMk/>
            <pc:sldMk cId="3536490213" sldId="1240"/>
            <ac:picMk id="55" creationId="{CBCB16B8-BB63-BD42-0787-54B4B54638D3}"/>
          </ac:picMkLst>
        </pc:picChg>
        <pc:picChg chg="del">
          <ac:chgData name="Kenzhekhan Abuov" userId="902729f0-25f2-45d2-93e1-7080b8c08c09" providerId="ADAL" clId="{92DF7484-78F2-7B4D-8CBC-E98EBC6FFAEC}" dt="2023-10-15T05:49:02.284" v="77" actId="478"/>
          <ac:picMkLst>
            <pc:docMk/>
            <pc:sldMk cId="3536490213" sldId="1240"/>
            <ac:picMk id="56" creationId="{07584EA7-97C7-C5B7-3A9E-47233E822065}"/>
          </ac:picMkLst>
        </pc:picChg>
        <pc:picChg chg="mod">
          <ac:chgData name="Kenzhekhan Abuov" userId="902729f0-25f2-45d2-93e1-7080b8c08c09" providerId="ADAL" clId="{92DF7484-78F2-7B4D-8CBC-E98EBC6FFAEC}" dt="2023-10-15T05:44:30.905" v="24" actId="164"/>
          <ac:picMkLst>
            <pc:docMk/>
            <pc:sldMk cId="3536490213" sldId="1240"/>
            <ac:picMk id="64" creationId="{90C94DAB-062C-6209-8B67-06C43AA3F153}"/>
          </ac:picMkLst>
        </pc:picChg>
        <pc:picChg chg="del">
          <ac:chgData name="Kenzhekhan Abuov" userId="902729f0-25f2-45d2-93e1-7080b8c08c09" providerId="ADAL" clId="{92DF7484-78F2-7B4D-8CBC-E98EBC6FFAEC}" dt="2023-10-15T05:48:16.485" v="47" actId="478"/>
          <ac:picMkLst>
            <pc:docMk/>
            <pc:sldMk cId="3536490213" sldId="1240"/>
            <ac:picMk id="65" creationId="{8E5CF9A3-F593-3DA3-8DC1-53C2C2010FE0}"/>
          </ac:picMkLst>
        </pc:picChg>
        <pc:picChg chg="del">
          <ac:chgData name="Kenzhekhan Abuov" userId="902729f0-25f2-45d2-93e1-7080b8c08c09" providerId="ADAL" clId="{92DF7484-78F2-7B4D-8CBC-E98EBC6FFAEC}" dt="2023-10-15T05:48:43.801" v="65" actId="478"/>
          <ac:picMkLst>
            <pc:docMk/>
            <pc:sldMk cId="3536490213" sldId="1240"/>
            <ac:picMk id="79" creationId="{FABE3BE9-3BD0-0C49-079E-3019C471988F}"/>
          </ac:picMkLst>
        </pc:picChg>
        <pc:cxnChg chg="del">
          <ac:chgData name="Kenzhekhan Abuov" userId="902729f0-25f2-45d2-93e1-7080b8c08c09" providerId="ADAL" clId="{92DF7484-78F2-7B4D-8CBC-E98EBC6FFAEC}" dt="2023-10-15T05:49:15.145" v="86" actId="478"/>
          <ac:cxnSpMkLst>
            <pc:docMk/>
            <pc:sldMk cId="3536490213" sldId="1240"/>
            <ac:cxnSpMk id="21" creationId="{0C2B5910-6F82-206C-9E49-4C84EBF1FD4B}"/>
          </ac:cxnSpMkLst>
        </pc:cxnChg>
        <pc:cxnChg chg="del mod">
          <ac:chgData name="Kenzhekhan Abuov" userId="902729f0-25f2-45d2-93e1-7080b8c08c09" providerId="ADAL" clId="{92DF7484-78F2-7B4D-8CBC-E98EBC6FFAEC}" dt="2023-10-15T05:49:17.934" v="88" actId="478"/>
          <ac:cxnSpMkLst>
            <pc:docMk/>
            <pc:sldMk cId="3536490213" sldId="1240"/>
            <ac:cxnSpMk id="41" creationId="{A5074CAB-1D4C-9746-43DF-74ED012A7706}"/>
          </ac:cxnSpMkLst>
        </pc:cxnChg>
        <pc:cxnChg chg="del">
          <ac:chgData name="Kenzhekhan Abuov" userId="902729f0-25f2-45d2-93e1-7080b8c08c09" providerId="ADAL" clId="{92DF7484-78F2-7B4D-8CBC-E98EBC6FFAEC}" dt="2023-10-15T05:49:11.744" v="84" actId="478"/>
          <ac:cxnSpMkLst>
            <pc:docMk/>
            <pc:sldMk cId="3536490213" sldId="1240"/>
            <ac:cxnSpMk id="51" creationId="{78DE84E2-5F8E-CF01-6B5E-63DFCC6F6AE7}"/>
          </ac:cxnSpMkLst>
        </pc:cxnChg>
        <pc:cxnChg chg="del mod">
          <ac:chgData name="Kenzhekhan Abuov" userId="902729f0-25f2-45d2-93e1-7080b8c08c09" providerId="ADAL" clId="{92DF7484-78F2-7B4D-8CBC-E98EBC6FFAEC}" dt="2023-10-15T05:49:08.146" v="81" actId="478"/>
          <ac:cxnSpMkLst>
            <pc:docMk/>
            <pc:sldMk cId="3536490213" sldId="1240"/>
            <ac:cxnSpMk id="59" creationId="{B55DC14B-22B3-92E0-61BD-37DFF602FC7E}"/>
          </ac:cxnSpMkLst>
        </pc:cxnChg>
        <pc:cxnChg chg="del mod">
          <ac:chgData name="Kenzhekhan Abuov" userId="902729f0-25f2-45d2-93e1-7080b8c08c09" providerId="ADAL" clId="{92DF7484-78F2-7B4D-8CBC-E98EBC6FFAEC}" dt="2023-10-15T05:48:10.301" v="42" actId="478"/>
          <ac:cxnSpMkLst>
            <pc:docMk/>
            <pc:sldMk cId="3536490213" sldId="1240"/>
            <ac:cxnSpMk id="88" creationId="{4E4D7294-3EE9-CEED-923B-00CBAA4D65C4}"/>
          </ac:cxnSpMkLst>
        </pc:cxnChg>
      </pc:sldChg>
      <pc:sldChg chg="del">
        <pc:chgData name="Kenzhekhan Abuov" userId="902729f0-25f2-45d2-93e1-7080b8c08c09" providerId="ADAL" clId="{92DF7484-78F2-7B4D-8CBC-E98EBC6FFAEC}" dt="2023-10-15T05:53:10.204" v="136" actId="2696"/>
        <pc:sldMkLst>
          <pc:docMk/>
          <pc:sldMk cId="2540549125" sldId="1241"/>
        </pc:sldMkLst>
      </pc:sldChg>
      <pc:sldChg chg="del">
        <pc:chgData name="Kenzhekhan Abuov" userId="902729f0-25f2-45d2-93e1-7080b8c08c09" providerId="ADAL" clId="{92DF7484-78F2-7B4D-8CBC-E98EBC6FFAEC}" dt="2023-10-15T05:53:12.660" v="137" actId="2696"/>
        <pc:sldMkLst>
          <pc:docMk/>
          <pc:sldMk cId="1008030223" sldId="1242"/>
        </pc:sldMkLst>
      </pc:sldChg>
    </pc:docChg>
  </pc:docChgLst>
  <pc:docChgLst>
    <pc:chgData name="Camille Cyn G. Isles" userId="af6a6069-19e8-4c1b-8328-8e89d5801a39" providerId="ADAL" clId="{157D5D9D-FB30-1049-9EDF-5040921CD21F}"/>
    <pc:docChg chg="undo custSel modSld">
      <pc:chgData name="Camille Cyn G. Isles" userId="af6a6069-19e8-4c1b-8328-8e89d5801a39" providerId="ADAL" clId="{157D5D9D-FB30-1049-9EDF-5040921CD21F}" dt="2023-10-17T02:27:28.102" v="153" actId="207"/>
      <pc:docMkLst>
        <pc:docMk/>
      </pc:docMkLst>
      <pc:sldChg chg="modSp mod">
        <pc:chgData name="Camille Cyn G. Isles" userId="af6a6069-19e8-4c1b-8328-8e89d5801a39" providerId="ADAL" clId="{157D5D9D-FB30-1049-9EDF-5040921CD21F}" dt="2023-10-17T02:08:54.569" v="95" actId="1076"/>
        <pc:sldMkLst>
          <pc:docMk/>
          <pc:sldMk cId="1905903416" sldId="256"/>
        </pc:sldMkLst>
        <pc:spChg chg="mod">
          <ac:chgData name="Camille Cyn G. Isles" userId="af6a6069-19e8-4c1b-8328-8e89d5801a39" providerId="ADAL" clId="{157D5D9D-FB30-1049-9EDF-5040921CD21F}" dt="2023-10-17T02:08:54.569" v="95" actId="1076"/>
          <ac:spMkLst>
            <pc:docMk/>
            <pc:sldMk cId="1905903416" sldId="256"/>
            <ac:spMk id="5" creationId="{22E3AF2F-209D-9770-3078-3A75C4E0015C}"/>
          </ac:spMkLst>
        </pc:spChg>
      </pc:sldChg>
      <pc:sldChg chg="modSp mod">
        <pc:chgData name="Camille Cyn G. Isles" userId="af6a6069-19e8-4c1b-8328-8e89d5801a39" providerId="ADAL" clId="{157D5D9D-FB30-1049-9EDF-5040921CD21F}" dt="2023-10-17T02:27:28.102" v="153" actId="207"/>
        <pc:sldMkLst>
          <pc:docMk/>
          <pc:sldMk cId="972413573" sldId="1171"/>
        </pc:sldMkLst>
        <pc:spChg chg="mod">
          <ac:chgData name="Camille Cyn G. Isles" userId="af6a6069-19e8-4c1b-8328-8e89d5801a39" providerId="ADAL" clId="{157D5D9D-FB30-1049-9EDF-5040921CD21F}" dt="2023-10-17T02:26:16.122" v="147" actId="1076"/>
          <ac:spMkLst>
            <pc:docMk/>
            <pc:sldMk cId="972413573" sldId="1171"/>
            <ac:spMk id="4" creationId="{A120A2F6-D33F-D846-BA6B-92C4DEAE819F}"/>
          </ac:spMkLst>
        </pc:spChg>
        <pc:spChg chg="mod">
          <ac:chgData name="Camille Cyn G. Isles" userId="af6a6069-19e8-4c1b-8328-8e89d5801a39" providerId="ADAL" clId="{157D5D9D-FB30-1049-9EDF-5040921CD21F}" dt="2023-10-17T01:58:44.309" v="59" actId="14100"/>
          <ac:spMkLst>
            <pc:docMk/>
            <pc:sldMk cId="972413573" sldId="1171"/>
            <ac:spMk id="18" creationId="{D6495175-6B10-419E-AC29-A3366F24BDCF}"/>
          </ac:spMkLst>
        </pc:spChg>
        <pc:spChg chg="mod">
          <ac:chgData name="Camille Cyn G. Isles" userId="af6a6069-19e8-4c1b-8328-8e89d5801a39" providerId="ADAL" clId="{157D5D9D-FB30-1049-9EDF-5040921CD21F}" dt="2023-10-17T02:24:55.302" v="136" actId="14100"/>
          <ac:spMkLst>
            <pc:docMk/>
            <pc:sldMk cId="972413573" sldId="1171"/>
            <ac:spMk id="28" creationId="{3AAD10DF-2654-504A-B564-49C6FF30881C}"/>
          </ac:spMkLst>
        </pc:spChg>
        <pc:spChg chg="mod">
          <ac:chgData name="Camille Cyn G. Isles" userId="af6a6069-19e8-4c1b-8328-8e89d5801a39" providerId="ADAL" clId="{157D5D9D-FB30-1049-9EDF-5040921CD21F}" dt="2023-10-17T02:25:09.183" v="139" actId="1076"/>
          <ac:spMkLst>
            <pc:docMk/>
            <pc:sldMk cId="972413573" sldId="1171"/>
            <ac:spMk id="29" creationId="{BE1EEFF4-23F8-7840-8A33-C484E948F2CE}"/>
          </ac:spMkLst>
        </pc:spChg>
        <pc:spChg chg="mod">
          <ac:chgData name="Camille Cyn G. Isles" userId="af6a6069-19e8-4c1b-8328-8e89d5801a39" providerId="ADAL" clId="{157D5D9D-FB30-1049-9EDF-5040921CD21F}" dt="2023-10-17T02:24:59.196" v="137" actId="1076"/>
          <ac:spMkLst>
            <pc:docMk/>
            <pc:sldMk cId="972413573" sldId="1171"/>
            <ac:spMk id="31" creationId="{41B20CBC-8DDD-E147-A56A-588CE8212C0F}"/>
          </ac:spMkLst>
        </pc:spChg>
        <pc:spChg chg="mod">
          <ac:chgData name="Camille Cyn G. Isles" userId="af6a6069-19e8-4c1b-8328-8e89d5801a39" providerId="ADAL" clId="{157D5D9D-FB30-1049-9EDF-5040921CD21F}" dt="2023-10-17T02:25:15.283" v="140" actId="14100"/>
          <ac:spMkLst>
            <pc:docMk/>
            <pc:sldMk cId="972413573" sldId="1171"/>
            <ac:spMk id="33" creationId="{211FA308-C099-3344-B611-5EE94DEADDAC}"/>
          </ac:spMkLst>
        </pc:spChg>
        <pc:spChg chg="mod">
          <ac:chgData name="Camille Cyn G. Isles" userId="af6a6069-19e8-4c1b-8328-8e89d5801a39" providerId="ADAL" clId="{157D5D9D-FB30-1049-9EDF-5040921CD21F}" dt="2023-10-17T02:25:21.169" v="141" actId="1076"/>
          <ac:spMkLst>
            <pc:docMk/>
            <pc:sldMk cId="972413573" sldId="1171"/>
            <ac:spMk id="34" creationId="{9B593572-BEE6-4349-BFD5-D72BA68E7FB0}"/>
          </ac:spMkLst>
        </pc:spChg>
        <pc:spChg chg="mod">
          <ac:chgData name="Camille Cyn G. Isles" userId="af6a6069-19e8-4c1b-8328-8e89d5801a39" providerId="ADAL" clId="{157D5D9D-FB30-1049-9EDF-5040921CD21F}" dt="2023-10-17T02:25:05.161" v="138" actId="1076"/>
          <ac:spMkLst>
            <pc:docMk/>
            <pc:sldMk cId="972413573" sldId="1171"/>
            <ac:spMk id="39" creationId="{EA743B8B-643A-8B48-82D5-1315AC9861D8}"/>
          </ac:spMkLst>
        </pc:spChg>
        <pc:spChg chg="mod">
          <ac:chgData name="Camille Cyn G. Isles" userId="af6a6069-19e8-4c1b-8328-8e89d5801a39" providerId="ADAL" clId="{157D5D9D-FB30-1049-9EDF-5040921CD21F}" dt="2023-10-17T02:26:39.147" v="148" actId="1076"/>
          <ac:spMkLst>
            <pc:docMk/>
            <pc:sldMk cId="972413573" sldId="1171"/>
            <ac:spMk id="46" creationId="{7DC5AE39-D126-7043-9450-BB97914B5D4C}"/>
          </ac:spMkLst>
        </pc:spChg>
        <pc:spChg chg="mod">
          <ac:chgData name="Camille Cyn G. Isles" userId="af6a6069-19e8-4c1b-8328-8e89d5801a39" providerId="ADAL" clId="{157D5D9D-FB30-1049-9EDF-5040921CD21F}" dt="2023-10-17T02:25:47.413" v="144" actId="1076"/>
          <ac:spMkLst>
            <pc:docMk/>
            <pc:sldMk cId="972413573" sldId="1171"/>
            <ac:spMk id="47" creationId="{936D2594-6C8A-ED4C-9C6D-4799A800D799}"/>
          </ac:spMkLst>
        </pc:spChg>
        <pc:spChg chg="mod">
          <ac:chgData name="Camille Cyn G. Isles" userId="af6a6069-19e8-4c1b-8328-8e89d5801a39" providerId="ADAL" clId="{157D5D9D-FB30-1049-9EDF-5040921CD21F}" dt="2023-10-17T02:24:29.241" v="131" actId="1076"/>
          <ac:spMkLst>
            <pc:docMk/>
            <pc:sldMk cId="972413573" sldId="1171"/>
            <ac:spMk id="48" creationId="{E0BF8EBF-AB4F-334B-A4A4-296D53BC2197}"/>
          </ac:spMkLst>
        </pc:spChg>
        <pc:spChg chg="mod">
          <ac:chgData name="Camille Cyn G. Isles" userId="af6a6069-19e8-4c1b-8328-8e89d5801a39" providerId="ADAL" clId="{157D5D9D-FB30-1049-9EDF-5040921CD21F}" dt="2023-10-17T02:26:42.697" v="149" actId="1076"/>
          <ac:spMkLst>
            <pc:docMk/>
            <pc:sldMk cId="972413573" sldId="1171"/>
            <ac:spMk id="49" creationId="{15461027-70AD-814A-A975-51A76FFEB655}"/>
          </ac:spMkLst>
        </pc:spChg>
        <pc:spChg chg="mod">
          <ac:chgData name="Camille Cyn G. Isles" userId="af6a6069-19e8-4c1b-8328-8e89d5801a39" providerId="ADAL" clId="{157D5D9D-FB30-1049-9EDF-5040921CD21F}" dt="2023-10-17T02:24:22.333" v="130" actId="1076"/>
          <ac:spMkLst>
            <pc:docMk/>
            <pc:sldMk cId="972413573" sldId="1171"/>
            <ac:spMk id="50" creationId="{6FAEC455-B152-B446-9AA6-66918A2A4C46}"/>
          </ac:spMkLst>
        </pc:spChg>
        <pc:spChg chg="mod">
          <ac:chgData name="Camille Cyn G. Isles" userId="af6a6069-19e8-4c1b-8328-8e89d5801a39" providerId="ADAL" clId="{157D5D9D-FB30-1049-9EDF-5040921CD21F}" dt="2023-10-17T02:24:45.075" v="134" actId="1076"/>
          <ac:spMkLst>
            <pc:docMk/>
            <pc:sldMk cId="972413573" sldId="1171"/>
            <ac:spMk id="51" creationId="{9300997C-69BF-194B-B4C5-B1729384011A}"/>
          </ac:spMkLst>
        </pc:spChg>
        <pc:spChg chg="mod">
          <ac:chgData name="Camille Cyn G. Isles" userId="af6a6069-19e8-4c1b-8328-8e89d5801a39" providerId="ADAL" clId="{157D5D9D-FB30-1049-9EDF-5040921CD21F}" dt="2023-10-17T02:27:28.102" v="153" actId="207"/>
          <ac:spMkLst>
            <pc:docMk/>
            <pc:sldMk cId="972413573" sldId="1171"/>
            <ac:spMk id="52" creationId="{83597922-2EB4-2A41-9E25-AB52B7E6AF3F}"/>
          </ac:spMkLst>
        </pc:spChg>
      </pc:sldChg>
      <pc:sldChg chg="modSp mod">
        <pc:chgData name="Camille Cyn G. Isles" userId="af6a6069-19e8-4c1b-8328-8e89d5801a39" providerId="ADAL" clId="{157D5D9D-FB30-1049-9EDF-5040921CD21F}" dt="2023-10-17T02:08:40.076" v="94" actId="207"/>
        <pc:sldMkLst>
          <pc:docMk/>
          <pc:sldMk cId="3947124730" sldId="1174"/>
        </pc:sldMkLst>
        <pc:spChg chg="mod">
          <ac:chgData name="Camille Cyn G. Isles" userId="af6a6069-19e8-4c1b-8328-8e89d5801a39" providerId="ADAL" clId="{157D5D9D-FB30-1049-9EDF-5040921CD21F}" dt="2023-10-17T01:56:03.631" v="41" actId="1076"/>
          <ac:spMkLst>
            <pc:docMk/>
            <pc:sldMk cId="3947124730" sldId="1174"/>
            <ac:spMk id="11" creationId="{CA9DD8AE-4246-42A6-B4D6-893B59C880F3}"/>
          </ac:spMkLst>
        </pc:spChg>
        <pc:spChg chg="mod">
          <ac:chgData name="Camille Cyn G. Isles" userId="af6a6069-19e8-4c1b-8328-8e89d5801a39" providerId="ADAL" clId="{157D5D9D-FB30-1049-9EDF-5040921CD21F}" dt="2023-10-17T01:56:56.677" v="52" actId="1076"/>
          <ac:spMkLst>
            <pc:docMk/>
            <pc:sldMk cId="3947124730" sldId="1174"/>
            <ac:spMk id="12" creationId="{BEE827BF-8AF4-4685-9D0E-3A048E4AC7D5}"/>
          </ac:spMkLst>
        </pc:spChg>
        <pc:spChg chg="mod">
          <ac:chgData name="Camille Cyn G. Isles" userId="af6a6069-19e8-4c1b-8328-8e89d5801a39" providerId="ADAL" clId="{157D5D9D-FB30-1049-9EDF-5040921CD21F}" dt="2023-10-17T01:56:50.256" v="50" actId="1076"/>
          <ac:spMkLst>
            <pc:docMk/>
            <pc:sldMk cId="3947124730" sldId="1174"/>
            <ac:spMk id="13" creationId="{2E2294BE-0748-46C8-A138-58C9198B64CC}"/>
          </ac:spMkLst>
        </pc:spChg>
        <pc:spChg chg="mod">
          <ac:chgData name="Camille Cyn G. Isles" userId="af6a6069-19e8-4c1b-8328-8e89d5801a39" providerId="ADAL" clId="{157D5D9D-FB30-1049-9EDF-5040921CD21F}" dt="2023-10-17T01:56:38.247" v="48" actId="1076"/>
          <ac:spMkLst>
            <pc:docMk/>
            <pc:sldMk cId="3947124730" sldId="1174"/>
            <ac:spMk id="14" creationId="{8F02E2A6-07FE-4481-9B2E-5E93EC2F691A}"/>
          </ac:spMkLst>
        </pc:spChg>
        <pc:spChg chg="mod">
          <ac:chgData name="Camille Cyn G. Isles" userId="af6a6069-19e8-4c1b-8328-8e89d5801a39" providerId="ADAL" clId="{157D5D9D-FB30-1049-9EDF-5040921CD21F}" dt="2023-10-17T01:56:53.654" v="51" actId="1076"/>
          <ac:spMkLst>
            <pc:docMk/>
            <pc:sldMk cId="3947124730" sldId="1174"/>
            <ac:spMk id="15" creationId="{E8E81F50-52EE-47C1-9C57-B7033300D4F5}"/>
          </ac:spMkLst>
        </pc:spChg>
        <pc:spChg chg="mod">
          <ac:chgData name="Camille Cyn G. Isles" userId="af6a6069-19e8-4c1b-8328-8e89d5801a39" providerId="ADAL" clId="{157D5D9D-FB30-1049-9EDF-5040921CD21F}" dt="2023-10-17T02:08:13.675" v="92" actId="255"/>
          <ac:spMkLst>
            <pc:docMk/>
            <pc:sldMk cId="3947124730" sldId="1174"/>
            <ac:spMk id="16" creationId="{E8F17F1B-F011-418B-894C-A1F49D3860FB}"/>
          </ac:spMkLst>
        </pc:spChg>
        <pc:spChg chg="mod">
          <ac:chgData name="Camille Cyn G. Isles" userId="af6a6069-19e8-4c1b-8328-8e89d5801a39" providerId="ADAL" clId="{157D5D9D-FB30-1049-9EDF-5040921CD21F}" dt="2023-10-17T02:08:03.864" v="91" actId="14100"/>
          <ac:spMkLst>
            <pc:docMk/>
            <pc:sldMk cId="3947124730" sldId="1174"/>
            <ac:spMk id="19" creationId="{D3FFEF12-7BAA-40C8-841A-34275B4F326C}"/>
          </ac:spMkLst>
        </pc:spChg>
        <pc:spChg chg="mod">
          <ac:chgData name="Camille Cyn G. Isles" userId="af6a6069-19e8-4c1b-8328-8e89d5801a39" providerId="ADAL" clId="{157D5D9D-FB30-1049-9EDF-5040921CD21F}" dt="2023-10-17T02:07:58.521" v="90" actId="1076"/>
          <ac:spMkLst>
            <pc:docMk/>
            <pc:sldMk cId="3947124730" sldId="1174"/>
            <ac:spMk id="37" creationId="{59F66E4B-D114-4016-84BD-8DF9072E8C6A}"/>
          </ac:spMkLst>
        </pc:spChg>
        <pc:spChg chg="mod">
          <ac:chgData name="Camille Cyn G. Isles" userId="af6a6069-19e8-4c1b-8328-8e89d5801a39" providerId="ADAL" clId="{157D5D9D-FB30-1049-9EDF-5040921CD21F}" dt="2023-10-17T02:08:40.076" v="94" actId="207"/>
          <ac:spMkLst>
            <pc:docMk/>
            <pc:sldMk cId="3947124730" sldId="1174"/>
            <ac:spMk id="40" creationId="{49CF5EB2-7572-4601-A1B3-DE28232AB88C}"/>
          </ac:spMkLst>
        </pc:spChg>
        <pc:grpChg chg="mod">
          <ac:chgData name="Camille Cyn G. Isles" userId="af6a6069-19e8-4c1b-8328-8e89d5801a39" providerId="ADAL" clId="{157D5D9D-FB30-1049-9EDF-5040921CD21F}" dt="2023-10-17T01:57:10.686" v="54" actId="1076"/>
          <ac:grpSpMkLst>
            <pc:docMk/>
            <pc:sldMk cId="3947124730" sldId="1174"/>
            <ac:grpSpMk id="4" creationId="{747374AD-42BA-4EA1-9370-71B77ECBE858}"/>
          </ac:grpSpMkLst>
        </pc:grpChg>
        <pc:picChg chg="mod">
          <ac:chgData name="Camille Cyn G. Isles" userId="af6a6069-19e8-4c1b-8328-8e89d5801a39" providerId="ADAL" clId="{157D5D9D-FB30-1049-9EDF-5040921CD21F}" dt="2023-10-17T01:57:19.777" v="56" actId="1076"/>
          <ac:picMkLst>
            <pc:docMk/>
            <pc:sldMk cId="3947124730" sldId="1174"/>
            <ac:picMk id="3" creationId="{DF1944AE-26CE-4072-ADD8-CE0E8B7A43C6}"/>
          </ac:picMkLst>
        </pc:picChg>
        <pc:picChg chg="mod">
          <ac:chgData name="Camille Cyn G. Isles" userId="af6a6069-19e8-4c1b-8328-8e89d5801a39" providerId="ADAL" clId="{157D5D9D-FB30-1049-9EDF-5040921CD21F}" dt="2023-10-17T01:56:07.297" v="43" actId="1076"/>
          <ac:picMkLst>
            <pc:docMk/>
            <pc:sldMk cId="3947124730" sldId="1174"/>
            <ac:picMk id="28" creationId="{1C3758E8-2933-4ADE-A5A6-A9648A6FA5CD}"/>
          </ac:picMkLst>
        </pc:picChg>
        <pc:picChg chg="mod">
          <ac:chgData name="Camille Cyn G. Isles" userId="af6a6069-19e8-4c1b-8328-8e89d5801a39" providerId="ADAL" clId="{157D5D9D-FB30-1049-9EDF-5040921CD21F}" dt="2023-10-17T02:07:48.241" v="89" actId="1076"/>
          <ac:picMkLst>
            <pc:docMk/>
            <pc:sldMk cId="3947124730" sldId="1174"/>
            <ac:picMk id="30" creationId="{69F81E29-D5D0-4D41-ACD0-46DB5E3F99D5}"/>
          </ac:picMkLst>
        </pc:picChg>
        <pc:cxnChg chg="mod">
          <ac:chgData name="Camille Cyn G. Isles" userId="af6a6069-19e8-4c1b-8328-8e89d5801a39" providerId="ADAL" clId="{157D5D9D-FB30-1049-9EDF-5040921CD21F}" dt="2023-10-17T02:07:58.521" v="90" actId="1076"/>
          <ac:cxnSpMkLst>
            <pc:docMk/>
            <pc:sldMk cId="3947124730" sldId="1174"/>
            <ac:cxnSpMk id="39" creationId="{C59722C0-D2F4-4BAD-AB9A-68EABAC16C34}"/>
          </ac:cxnSpMkLst>
        </pc:cxnChg>
      </pc:sldChg>
      <pc:sldChg chg="modSp mod">
        <pc:chgData name="Camille Cyn G. Isles" userId="af6a6069-19e8-4c1b-8328-8e89d5801a39" providerId="ADAL" clId="{157D5D9D-FB30-1049-9EDF-5040921CD21F}" dt="2023-10-17T02:27:16.769" v="152" actId="1076"/>
        <pc:sldMkLst>
          <pc:docMk/>
          <pc:sldMk cId="1607438961" sldId="1211"/>
        </pc:sldMkLst>
        <pc:picChg chg="mod">
          <ac:chgData name="Camille Cyn G. Isles" userId="af6a6069-19e8-4c1b-8328-8e89d5801a39" providerId="ADAL" clId="{157D5D9D-FB30-1049-9EDF-5040921CD21F}" dt="2023-10-17T02:14:06.228" v="97" actId="14100"/>
          <ac:picMkLst>
            <pc:docMk/>
            <pc:sldMk cId="1607438961" sldId="1211"/>
            <ac:picMk id="2" creationId="{E7881AFB-B17E-BCA0-E0E3-0CB07EB51FA9}"/>
          </ac:picMkLst>
        </pc:picChg>
        <pc:picChg chg="mod">
          <ac:chgData name="Camille Cyn G. Isles" userId="af6a6069-19e8-4c1b-8328-8e89d5801a39" providerId="ADAL" clId="{157D5D9D-FB30-1049-9EDF-5040921CD21F}" dt="2023-10-17T02:27:16.769" v="152" actId="1076"/>
          <ac:picMkLst>
            <pc:docMk/>
            <pc:sldMk cId="1607438961" sldId="1211"/>
            <ac:picMk id="4" creationId="{E5079140-ED23-2AF4-B056-2F046427A44E}"/>
          </ac:picMkLst>
        </pc:picChg>
      </pc:sldChg>
      <pc:sldChg chg="modSp mod">
        <pc:chgData name="Camille Cyn G. Isles" userId="af6a6069-19e8-4c1b-8328-8e89d5801a39" providerId="ADAL" clId="{157D5D9D-FB30-1049-9EDF-5040921CD21F}" dt="2023-10-17T02:27:00.098" v="150" actId="14100"/>
        <pc:sldMkLst>
          <pc:docMk/>
          <pc:sldMk cId="4036976299" sldId="1238"/>
        </pc:sldMkLst>
        <pc:spChg chg="mod">
          <ac:chgData name="Camille Cyn G. Isles" userId="af6a6069-19e8-4c1b-8328-8e89d5801a39" providerId="ADAL" clId="{157D5D9D-FB30-1049-9EDF-5040921CD21F}" dt="2023-10-17T02:27:00.098" v="150" actId="14100"/>
          <ac:spMkLst>
            <pc:docMk/>
            <pc:sldMk cId="4036976299" sldId="1238"/>
            <ac:spMk id="4" creationId="{DA879AD2-52A6-40AA-A8BF-2F1676AA7E86}"/>
          </ac:spMkLst>
        </pc:spChg>
      </pc:sldChg>
      <pc:sldChg chg="modSp mod">
        <pc:chgData name="Camille Cyn G. Isles" userId="af6a6069-19e8-4c1b-8328-8e89d5801a39" providerId="ADAL" clId="{157D5D9D-FB30-1049-9EDF-5040921CD21F}" dt="2023-10-17T02:15:58.802" v="104" actId="14100"/>
        <pc:sldMkLst>
          <pc:docMk/>
          <pc:sldMk cId="3536490213" sldId="1240"/>
        </pc:sldMkLst>
        <pc:spChg chg="mod">
          <ac:chgData name="Camille Cyn G. Isles" userId="af6a6069-19e8-4c1b-8328-8e89d5801a39" providerId="ADAL" clId="{157D5D9D-FB30-1049-9EDF-5040921CD21F}" dt="2023-10-17T02:14:48.717" v="101" actId="14100"/>
          <ac:spMkLst>
            <pc:docMk/>
            <pc:sldMk cId="3536490213" sldId="1240"/>
            <ac:spMk id="2" creationId="{BA01393A-6273-439B-AACF-16ED5D6812F4}"/>
          </ac:spMkLst>
        </pc:spChg>
        <pc:grpChg chg="mod">
          <ac:chgData name="Camille Cyn G. Isles" userId="af6a6069-19e8-4c1b-8328-8e89d5801a39" providerId="ADAL" clId="{157D5D9D-FB30-1049-9EDF-5040921CD21F}" dt="2023-10-17T02:15:58.802" v="104" actId="14100"/>
          <ac:grpSpMkLst>
            <pc:docMk/>
            <pc:sldMk cId="3536490213" sldId="1240"/>
            <ac:grpSpMk id="4" creationId="{00DE8AD3-029F-F439-55FF-B3256D7967F7}"/>
          </ac:grpSpMkLst>
        </pc:grpChg>
        <pc:picChg chg="mod">
          <ac:chgData name="Camille Cyn G. Isles" userId="af6a6069-19e8-4c1b-8328-8e89d5801a39" providerId="ADAL" clId="{157D5D9D-FB30-1049-9EDF-5040921CD21F}" dt="2023-10-17T02:14:42.959" v="99" actId="14100"/>
          <ac:picMkLst>
            <pc:docMk/>
            <pc:sldMk cId="3536490213" sldId="1240"/>
            <ac:picMk id="11" creationId="{206EB1AA-0C67-A165-5DBC-B2988CF6DAC8}"/>
          </ac:picMkLst>
        </pc:picChg>
        <pc:picChg chg="mod">
          <ac:chgData name="Camille Cyn G. Isles" userId="af6a6069-19e8-4c1b-8328-8e89d5801a39" providerId="ADAL" clId="{157D5D9D-FB30-1049-9EDF-5040921CD21F}" dt="2023-10-17T02:15:53.315" v="103" actId="14100"/>
          <ac:picMkLst>
            <pc:docMk/>
            <pc:sldMk cId="3536490213" sldId="1240"/>
            <ac:picMk id="12" creationId="{720E4375-8F56-B524-87F2-B3ABC05E28EF}"/>
          </ac:picMkLst>
        </pc:picChg>
      </pc:sldChg>
    </pc:docChg>
  </pc:docChgLst>
  <pc:docChgLst>
    <pc:chgData name="Dorothea C. Lazaro" userId="S::dlazaro@adb.org::805b2f41-9d5e-4ff4-8a46-e4c17eaa3090" providerId="AD" clId="Web-{00107CF3-24A0-EF97-F7E0-29305E701ED6}"/>
    <pc:docChg chg="delSld">
      <pc:chgData name="Dorothea C. Lazaro" userId="S::dlazaro@adb.org::805b2f41-9d5e-4ff4-8a46-e4c17eaa3090" providerId="AD" clId="Web-{00107CF3-24A0-EF97-F7E0-29305E701ED6}" dt="2023-10-13T08:26:22.890" v="0"/>
      <pc:docMkLst>
        <pc:docMk/>
      </pc:docMkLst>
      <pc:sldChg chg="del">
        <pc:chgData name="Dorothea C. Lazaro" userId="S::dlazaro@adb.org::805b2f41-9d5e-4ff4-8a46-e4c17eaa3090" providerId="AD" clId="Web-{00107CF3-24A0-EF97-F7E0-29305E701ED6}" dt="2023-10-13T08:26:22.890" v="0"/>
        <pc:sldMkLst>
          <pc:docMk/>
          <pc:sldMk cId="1621216364" sldId="1243"/>
        </pc:sldMkLst>
      </pc:sldChg>
    </pc:docChg>
  </pc:docChgLst>
  <pc:docChgLst>
    <pc:chgData name="Dorothea C. Lazaro" userId="S::dlazaro@adb.org::805b2f41-9d5e-4ff4-8a46-e4c17eaa3090" providerId="AD" clId="Web-{F08E8945-C927-216A-E9CA-CDEAFC51DA98}"/>
    <pc:docChg chg="modSld">
      <pc:chgData name="Dorothea C. Lazaro" userId="S::dlazaro@adb.org::805b2f41-9d5e-4ff4-8a46-e4c17eaa3090" providerId="AD" clId="Web-{F08E8945-C927-216A-E9CA-CDEAFC51DA98}" dt="2023-10-13T07:52:01.950" v="22" actId="1076"/>
      <pc:docMkLst>
        <pc:docMk/>
      </pc:docMkLst>
      <pc:sldChg chg="addSp delSp modSp">
        <pc:chgData name="Dorothea C. Lazaro" userId="S::dlazaro@adb.org::805b2f41-9d5e-4ff4-8a46-e4c17eaa3090" providerId="AD" clId="Web-{F08E8945-C927-216A-E9CA-CDEAFC51DA98}" dt="2023-10-13T07:52:01.950" v="22" actId="1076"/>
        <pc:sldMkLst>
          <pc:docMk/>
          <pc:sldMk cId="1607438961" sldId="1211"/>
        </pc:sldMkLst>
        <pc:spChg chg="add del mod">
          <ac:chgData name="Dorothea C. Lazaro" userId="S::dlazaro@adb.org::805b2f41-9d5e-4ff4-8a46-e4c17eaa3090" providerId="AD" clId="Web-{F08E8945-C927-216A-E9CA-CDEAFC51DA98}" dt="2023-10-13T07:51:55.731" v="20"/>
          <ac:spMkLst>
            <pc:docMk/>
            <pc:sldMk cId="1607438961" sldId="1211"/>
            <ac:spMk id="3" creationId="{3C551F33-A3B1-AE6B-D2E7-60383B4C0D97}"/>
          </ac:spMkLst>
        </pc:spChg>
        <pc:spChg chg="mod">
          <ac:chgData name="Dorothea C. Lazaro" userId="S::dlazaro@adb.org::805b2f41-9d5e-4ff4-8a46-e4c17eaa3090" providerId="AD" clId="Web-{F08E8945-C927-216A-E9CA-CDEAFC51DA98}" dt="2023-10-13T07:50:37.854" v="0" actId="1076"/>
          <ac:spMkLst>
            <pc:docMk/>
            <pc:sldMk cId="1607438961" sldId="1211"/>
            <ac:spMk id="5" creationId="{A533FD2B-A997-1D4B-946A-3383E08070C3}"/>
          </ac:spMkLst>
        </pc:spChg>
        <pc:picChg chg="add mod">
          <ac:chgData name="Dorothea C. Lazaro" userId="S::dlazaro@adb.org::805b2f41-9d5e-4ff4-8a46-e4c17eaa3090" providerId="AD" clId="Web-{F08E8945-C927-216A-E9CA-CDEAFC51DA98}" dt="2023-10-13T07:52:01.950" v="22" actId="1076"/>
          <ac:picMkLst>
            <pc:docMk/>
            <pc:sldMk cId="1607438961" sldId="1211"/>
            <ac:picMk id="4" creationId="{E5079140-ED23-2AF4-B056-2F046427A44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10/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106976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106363" y="750888"/>
            <a:ext cx="6665912"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283464" marR="0" indent="-283464" algn="l" rtl="0" eaLnBrk="1" fontAlgn="auto" latinLnBrk="0" hangingPunct="1">
              <a:spcBef>
                <a:spcPts val="0"/>
              </a:spcBef>
              <a:spcAft>
                <a:spcPts val="0"/>
              </a:spcAft>
            </a:pPr>
            <a:r>
              <a:rPr lang="en-US" sz="1200" b="0" i="0" u="none" strike="noStrike">
                <a:effectLst/>
                <a:latin typeface="Arial" panose="020B0604020202020204" pitchFamily="34" charset="0"/>
              </a:rPr>
              <a:t>The </a:t>
            </a:r>
            <a:r>
              <a:rPr lang="en-US" sz="1200" b="0" i="0" u="none" strike="noStrike" err="1">
                <a:effectLst/>
                <a:latin typeface="Arial" panose="020B0604020202020204" pitchFamily="34" charset="0"/>
              </a:rPr>
              <a:t>VisitSilkRoad</a:t>
            </a:r>
            <a:r>
              <a:rPr lang="en-US" sz="1200" b="0" i="0" u="none" strike="noStrike">
                <a:effectLst/>
                <a:latin typeface="Arial" panose="020B0604020202020204" pitchFamily="34" charset="0"/>
              </a:rPr>
              <a:t> tourism portal is an important tool to share knowledge, information and direct tourists within the region</a:t>
            </a:r>
          </a:p>
          <a:p>
            <a:pPr marL="283464" marR="0" indent="-283464" algn="l" rtl="0" eaLnBrk="1" fontAlgn="auto" latinLnBrk="0" hangingPunct="1">
              <a:spcBef>
                <a:spcPts val="0"/>
              </a:spcBef>
              <a:spcAft>
                <a:spcPts val="0"/>
              </a:spcAft>
            </a:pPr>
            <a:endParaRPr lang="en-US" sz="12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200" b="0" i="0" u="none" strike="noStrike">
                <a:effectLst/>
                <a:latin typeface="Arial" panose="020B0604020202020204" pitchFamily="34" charset="0"/>
              </a:rPr>
              <a:t>The future activities including capacity building programs will support and promote the local private sector and the tourism agencies from CAREC countries to build skills and capacity in delivering sustainable services and embrace a green economy</a:t>
            </a:r>
            <a:endParaRPr lang="es-ES"/>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3</a:t>
            </a:fld>
            <a:endParaRPr lang="es-ES"/>
          </a:p>
        </p:txBody>
      </p:sp>
    </p:spTree>
    <p:extLst>
      <p:ext uri="{BB962C8B-B14F-4D97-AF65-F5344CB8AC3E}">
        <p14:creationId xmlns:p14="http://schemas.microsoft.com/office/powerpoint/2010/main" val="1727974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26357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3512655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10/16/20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13" name="Textfeld 5">
            <a:extLst>
              <a:ext uri="{FF2B5EF4-FFF2-40B4-BE49-F238E27FC236}">
                <a16:creationId xmlns:a16="http://schemas.microsoft.com/office/drawing/2014/main" id="{411BC9A1-A8EA-CB48-B8C4-1FD68188BB04}"/>
              </a:ext>
            </a:extLst>
          </p:cNvPr>
          <p:cNvSpPr txBox="1"/>
          <p:nvPr userDrawn="1"/>
        </p:nvSpPr>
        <p:spPr>
          <a:xfrm>
            <a:off x="11296063" y="6424049"/>
            <a:ext cx="356188" cy="261610"/>
          </a:xfrm>
          <a:prstGeom prst="rect">
            <a:avLst/>
          </a:prstGeom>
          <a:noFill/>
        </p:spPr>
        <p:txBody>
          <a:bodyPr wrap="none" rtlCol="0">
            <a:spAutoFit/>
          </a:bodyPr>
          <a:lstStyle/>
          <a:p>
            <a:pPr algn="r"/>
            <a:fld id="{67ECB1E1-6EEE-4A58-B357-D7F23E2723D0}" type="slidenum">
              <a:rPr lang="de-DE" sz="1100" b="0" smtClean="0">
                <a:solidFill>
                  <a:srgbClr val="566367"/>
                </a:solidFill>
                <a:latin typeface="Arial" panose="020B0604020202020204" pitchFamily="34" charset="0"/>
                <a:cs typeface="Arial" panose="020B0604020202020204" pitchFamily="34" charset="0"/>
              </a:rPr>
              <a:pPr algn="r"/>
              <a:t>‹#›</a:t>
            </a:fld>
            <a:endParaRPr lang="de-DE" sz="1100" b="0">
              <a:solidFill>
                <a:srgbClr val="566367"/>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CEA0F2D5-55C5-2A4D-806D-5B4E679ACF90}"/>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816FB951-A042-0F4E-9E81-F0E653F69E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9842" y="61196"/>
            <a:ext cx="699240" cy="603023"/>
          </a:xfrm>
          <a:prstGeom prst="rect">
            <a:avLst/>
          </a:prstGeom>
        </p:spPr>
      </p:pic>
      <p:pic>
        <p:nvPicPr>
          <p:cNvPr id="19" name="Picture 18">
            <a:extLst>
              <a:ext uri="{FF2B5EF4-FFF2-40B4-BE49-F238E27FC236}">
                <a16:creationId xmlns:a16="http://schemas.microsoft.com/office/drawing/2014/main" id="{E5C1D184-89CC-7D44-9A21-2F4F6910D1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8131" y="61197"/>
            <a:ext cx="671839" cy="603024"/>
          </a:xfrm>
          <a:prstGeom prst="rect">
            <a:avLst/>
          </a:prstGeom>
        </p:spPr>
      </p:pic>
    </p:spTree>
    <p:extLst>
      <p:ext uri="{BB962C8B-B14F-4D97-AF65-F5344CB8AC3E}">
        <p14:creationId xmlns:p14="http://schemas.microsoft.com/office/powerpoint/2010/main" val="2321714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7.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5"/>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72" r:id="rId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tiff"/></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1.emf"/><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tiff"/></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6.tiff"/><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hyperlink" Target="https://visitsilkroad.org/staging?_sm_nck=1" TargetMode="Externa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627674" y="2208188"/>
            <a:ext cx="5468325" cy="1671481"/>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a:solidFill>
                  <a:srgbClr val="002060"/>
                </a:solidFill>
                <a:latin typeface="Roboto"/>
              </a:rPr>
              <a:t>CAREC Tourism Virtual Portal</a:t>
            </a:r>
          </a:p>
          <a:p>
            <a:pPr algn="ctr"/>
            <a:r>
              <a:rPr lang="en-US" sz="4000" b="1" err="1">
                <a:solidFill>
                  <a:srgbClr val="FF0000"/>
                </a:solidFill>
                <a:latin typeface="Roboto"/>
              </a:rPr>
              <a:t>www.visitsilkroad.org</a:t>
            </a:r>
            <a:endParaRPr lang="en-US" sz="4000" b="1">
              <a:solidFill>
                <a:srgbClr val="FF0000"/>
              </a:solidFill>
              <a:latin typeface="Roboto"/>
            </a:endParaRPr>
          </a:p>
        </p:txBody>
      </p:sp>
      <p:sp>
        <p:nvSpPr>
          <p:cNvPr id="5" name="TextBox 4">
            <a:extLst>
              <a:ext uri="{FF2B5EF4-FFF2-40B4-BE49-F238E27FC236}">
                <a16:creationId xmlns:a16="http://schemas.microsoft.com/office/drawing/2014/main" id="{22E3AF2F-209D-9770-3078-3A75C4E0015C}"/>
              </a:ext>
            </a:extLst>
          </p:cNvPr>
          <p:cNvSpPr txBox="1"/>
          <p:nvPr/>
        </p:nvSpPr>
        <p:spPr>
          <a:xfrm>
            <a:off x="927472" y="4288494"/>
            <a:ext cx="4159680" cy="646331"/>
          </a:xfrm>
          <a:prstGeom prst="rect">
            <a:avLst/>
          </a:prstGeom>
          <a:noFill/>
        </p:spPr>
        <p:txBody>
          <a:bodyPr wrap="square">
            <a:spAutoFit/>
          </a:bodyPr>
          <a:lstStyle/>
          <a:p>
            <a:pPr algn="ctr"/>
            <a:r>
              <a:rPr lang="en-US" sz="1800" b="1">
                <a:solidFill>
                  <a:srgbClr val="002060"/>
                </a:solidFill>
                <a:latin typeface="Roboto"/>
              </a:rPr>
              <a:t>National Focal Points’ Meeting </a:t>
            </a:r>
          </a:p>
          <a:p>
            <a:pPr algn="ctr"/>
            <a:r>
              <a:rPr lang="en-US" sz="1800" b="1">
                <a:solidFill>
                  <a:srgbClr val="002060"/>
                </a:solidFill>
                <a:latin typeface="Roboto"/>
              </a:rPr>
              <a:t>18 October 2023</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95956E-4915-4670-965D-4BB44F4FA470}"/>
              </a:ext>
            </a:extLst>
          </p:cNvPr>
          <p:cNvSpPr txBox="1"/>
          <p:nvPr/>
        </p:nvSpPr>
        <p:spPr>
          <a:xfrm>
            <a:off x="4320761" y="129861"/>
            <a:ext cx="3727302" cy="400110"/>
          </a:xfrm>
          <a:prstGeom prst="rect">
            <a:avLst/>
          </a:prstGeom>
          <a:noFill/>
        </p:spPr>
        <p:txBody>
          <a:bodyPr wrap="none" rtlCol="0">
            <a:spAutoFit/>
          </a:bodyPr>
          <a:lstStyle/>
          <a:p>
            <a:pPr algn="ctr"/>
            <a:r>
              <a:rPr lang="en-US" sz="2000" b="1">
                <a:solidFill>
                  <a:srgbClr val="002060"/>
                </a:solidFill>
                <a:latin typeface="Roboto"/>
                <a:cs typeface="Arial" panose="020B0604020202020204" pitchFamily="34" charset="0"/>
              </a:rPr>
              <a:t>CAREC Tourism Strategy 2030</a:t>
            </a:r>
            <a:endParaRPr lang="en-US" sz="2000" b="1">
              <a:solidFill>
                <a:srgbClr val="002060"/>
              </a:solidFill>
              <a:latin typeface="Roboto"/>
            </a:endParaRPr>
          </a:p>
        </p:txBody>
      </p:sp>
      <p:pic>
        <p:nvPicPr>
          <p:cNvPr id="3" name="Picture 2">
            <a:extLst>
              <a:ext uri="{FF2B5EF4-FFF2-40B4-BE49-F238E27FC236}">
                <a16:creationId xmlns:a16="http://schemas.microsoft.com/office/drawing/2014/main" id="{DF1944AE-26CE-4072-ADD8-CE0E8B7A43C6}"/>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9186977" y="1323187"/>
            <a:ext cx="2224670" cy="346449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a:ext uri="{53640926-AAD7-44D8-BBD7-CCE9431645EC}">
              <a14:shadowObscured xmlns:a14="http://schemas.microsoft.com/office/drawing/2010/main"/>
            </a:ext>
          </a:extLst>
        </p:spPr>
      </p:pic>
      <p:grpSp>
        <p:nvGrpSpPr>
          <p:cNvPr id="4" name="Group 3">
            <a:extLst>
              <a:ext uri="{FF2B5EF4-FFF2-40B4-BE49-F238E27FC236}">
                <a16:creationId xmlns:a16="http://schemas.microsoft.com/office/drawing/2014/main" id="{747374AD-42BA-4EA1-9370-71B77ECBE858}"/>
              </a:ext>
            </a:extLst>
          </p:cNvPr>
          <p:cNvGrpSpPr/>
          <p:nvPr/>
        </p:nvGrpSpPr>
        <p:grpSpPr>
          <a:xfrm>
            <a:off x="429662" y="732129"/>
            <a:ext cx="8306564" cy="4522195"/>
            <a:chOff x="1387460" y="914524"/>
            <a:chExt cx="9490202" cy="6115595"/>
          </a:xfrm>
        </p:grpSpPr>
        <p:sp>
          <p:nvSpPr>
            <p:cNvPr id="5" name="Triangle 41">
              <a:extLst>
                <a:ext uri="{FF2B5EF4-FFF2-40B4-BE49-F238E27FC236}">
                  <a16:creationId xmlns:a16="http://schemas.microsoft.com/office/drawing/2014/main" id="{292100B5-7FD0-45DB-8F77-652F602B7A9A}"/>
                </a:ext>
              </a:extLst>
            </p:cNvPr>
            <p:cNvSpPr/>
            <p:nvPr/>
          </p:nvSpPr>
          <p:spPr>
            <a:xfrm>
              <a:off x="1553728" y="914524"/>
              <a:ext cx="9084545" cy="1279131"/>
            </a:xfrm>
            <a:prstGeom prst="triangl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11F3F715-D850-43D6-8395-114FF16D3D56}"/>
                </a:ext>
              </a:extLst>
            </p:cNvPr>
            <p:cNvGrpSpPr/>
            <p:nvPr/>
          </p:nvGrpSpPr>
          <p:grpSpPr>
            <a:xfrm>
              <a:off x="3491016" y="2148745"/>
              <a:ext cx="1722850" cy="3820193"/>
              <a:chOff x="1035848" y="2188140"/>
              <a:chExt cx="1230869" cy="2729290"/>
            </a:xfrm>
          </p:grpSpPr>
          <p:pic>
            <p:nvPicPr>
              <p:cNvPr id="34" name="Picture 33">
                <a:extLst>
                  <a:ext uri="{FF2B5EF4-FFF2-40B4-BE49-F238E27FC236}">
                    <a16:creationId xmlns:a16="http://schemas.microsoft.com/office/drawing/2014/main" id="{162B71DD-167C-4FB5-8749-0D07F3DADA6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5" name="Picture 34">
                <a:extLst>
                  <a:ext uri="{FF2B5EF4-FFF2-40B4-BE49-F238E27FC236}">
                    <a16:creationId xmlns:a16="http://schemas.microsoft.com/office/drawing/2014/main" id="{3A2637CB-3917-4D16-B705-688FE760FC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6" name="Picture 35">
                <a:extLst>
                  <a:ext uri="{FF2B5EF4-FFF2-40B4-BE49-F238E27FC236}">
                    <a16:creationId xmlns:a16="http://schemas.microsoft.com/office/drawing/2014/main" id="{95163BDD-8954-48DB-A292-955439EB3C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7" name="Group 6">
              <a:extLst>
                <a:ext uri="{FF2B5EF4-FFF2-40B4-BE49-F238E27FC236}">
                  <a16:creationId xmlns:a16="http://schemas.microsoft.com/office/drawing/2014/main" id="{244DCFD5-4C54-4561-90D0-4AFEE3ACF0C7}"/>
                </a:ext>
              </a:extLst>
            </p:cNvPr>
            <p:cNvGrpSpPr/>
            <p:nvPr/>
          </p:nvGrpSpPr>
          <p:grpSpPr>
            <a:xfrm>
              <a:off x="5397307" y="2148745"/>
              <a:ext cx="1722850" cy="3820193"/>
              <a:chOff x="1035848" y="2188140"/>
              <a:chExt cx="1230869" cy="2729290"/>
            </a:xfrm>
          </p:grpSpPr>
          <p:pic>
            <p:nvPicPr>
              <p:cNvPr id="31" name="Picture 30">
                <a:extLst>
                  <a:ext uri="{FF2B5EF4-FFF2-40B4-BE49-F238E27FC236}">
                    <a16:creationId xmlns:a16="http://schemas.microsoft.com/office/drawing/2014/main" id="{23E3F0FC-2D44-4695-A4F1-809EA0D99C39}"/>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2" name="Picture 31">
                <a:extLst>
                  <a:ext uri="{FF2B5EF4-FFF2-40B4-BE49-F238E27FC236}">
                    <a16:creationId xmlns:a16="http://schemas.microsoft.com/office/drawing/2014/main" id="{CB3133E9-3BE7-47A4-9B2D-9BD333F0BD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3" name="Picture 32">
                <a:extLst>
                  <a:ext uri="{FF2B5EF4-FFF2-40B4-BE49-F238E27FC236}">
                    <a16:creationId xmlns:a16="http://schemas.microsoft.com/office/drawing/2014/main" id="{63279EA3-CA12-4E9C-8054-E39CE2D4DF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8" name="Group 7">
              <a:extLst>
                <a:ext uri="{FF2B5EF4-FFF2-40B4-BE49-F238E27FC236}">
                  <a16:creationId xmlns:a16="http://schemas.microsoft.com/office/drawing/2014/main" id="{DA1831F3-818F-49BB-9410-F32BBC3D1D42}"/>
                </a:ext>
              </a:extLst>
            </p:cNvPr>
            <p:cNvGrpSpPr/>
            <p:nvPr/>
          </p:nvGrpSpPr>
          <p:grpSpPr>
            <a:xfrm>
              <a:off x="7272601" y="2148745"/>
              <a:ext cx="1722851" cy="3820193"/>
              <a:chOff x="1035848" y="2188140"/>
              <a:chExt cx="1230870" cy="2729290"/>
            </a:xfrm>
          </p:grpSpPr>
          <p:pic>
            <p:nvPicPr>
              <p:cNvPr id="28" name="Picture 27">
                <a:extLst>
                  <a:ext uri="{FF2B5EF4-FFF2-40B4-BE49-F238E27FC236}">
                    <a16:creationId xmlns:a16="http://schemas.microsoft.com/office/drawing/2014/main" id="{1C3758E8-2933-4ADE-A5A6-A9648A6FA5CD}"/>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9" name="Picture 28">
                <a:extLst>
                  <a:ext uri="{FF2B5EF4-FFF2-40B4-BE49-F238E27FC236}">
                    <a16:creationId xmlns:a16="http://schemas.microsoft.com/office/drawing/2014/main" id="{472A0BAD-DD74-440A-9F8F-BE96828609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0" name="Picture 29">
                <a:extLst>
                  <a:ext uri="{FF2B5EF4-FFF2-40B4-BE49-F238E27FC236}">
                    <a16:creationId xmlns:a16="http://schemas.microsoft.com/office/drawing/2014/main" id="{69F81E29-D5D0-4D41-ACD0-46DB5E3F99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9" y="4261184"/>
                <a:ext cx="1230869" cy="656246"/>
              </a:xfrm>
              <a:prstGeom prst="rect">
                <a:avLst/>
              </a:prstGeom>
            </p:spPr>
          </p:pic>
        </p:grpSp>
        <p:grpSp>
          <p:nvGrpSpPr>
            <p:cNvPr id="9" name="Group 8">
              <a:extLst>
                <a:ext uri="{FF2B5EF4-FFF2-40B4-BE49-F238E27FC236}">
                  <a16:creationId xmlns:a16="http://schemas.microsoft.com/office/drawing/2014/main" id="{C77E6528-06D9-4F64-A733-4EE73FD377C3}"/>
                </a:ext>
              </a:extLst>
            </p:cNvPr>
            <p:cNvGrpSpPr/>
            <p:nvPr/>
          </p:nvGrpSpPr>
          <p:grpSpPr>
            <a:xfrm>
              <a:off x="8915422" y="2148745"/>
              <a:ext cx="1722850" cy="3820193"/>
              <a:chOff x="1035848" y="2188140"/>
              <a:chExt cx="1230869" cy="2729290"/>
            </a:xfrm>
          </p:grpSpPr>
          <p:pic>
            <p:nvPicPr>
              <p:cNvPr id="25" name="Picture 24">
                <a:extLst>
                  <a:ext uri="{FF2B5EF4-FFF2-40B4-BE49-F238E27FC236}">
                    <a16:creationId xmlns:a16="http://schemas.microsoft.com/office/drawing/2014/main" id="{9F1B8C68-DA53-4490-BDAE-EFC010B185F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6" name="Picture 25">
                <a:extLst>
                  <a:ext uri="{FF2B5EF4-FFF2-40B4-BE49-F238E27FC236}">
                    <a16:creationId xmlns:a16="http://schemas.microsoft.com/office/drawing/2014/main" id="{B4CB9DB1-D2F1-48C2-9D52-9D5239D4F5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7" name="Picture 26">
                <a:extLst>
                  <a:ext uri="{FF2B5EF4-FFF2-40B4-BE49-F238E27FC236}">
                    <a16:creationId xmlns:a16="http://schemas.microsoft.com/office/drawing/2014/main" id="{5E75A60C-5EC0-4B11-AC89-FBC5FDD021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10" name="Group 9">
              <a:extLst>
                <a:ext uri="{FF2B5EF4-FFF2-40B4-BE49-F238E27FC236}">
                  <a16:creationId xmlns:a16="http://schemas.microsoft.com/office/drawing/2014/main" id="{4CB5C9D9-09AA-4E96-BAEC-AC6BE10AA93C}"/>
                </a:ext>
              </a:extLst>
            </p:cNvPr>
            <p:cNvGrpSpPr/>
            <p:nvPr/>
          </p:nvGrpSpPr>
          <p:grpSpPr>
            <a:xfrm>
              <a:off x="1553728" y="2148745"/>
              <a:ext cx="1722850" cy="3820193"/>
              <a:chOff x="1035848" y="2188140"/>
              <a:chExt cx="1230869" cy="2729290"/>
            </a:xfrm>
          </p:grpSpPr>
          <p:pic>
            <p:nvPicPr>
              <p:cNvPr id="22" name="Picture 21">
                <a:extLst>
                  <a:ext uri="{FF2B5EF4-FFF2-40B4-BE49-F238E27FC236}">
                    <a16:creationId xmlns:a16="http://schemas.microsoft.com/office/drawing/2014/main" id="{E2D50676-8C39-4581-B788-5F785C9B9BCB}"/>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3" name="Picture 22">
                <a:extLst>
                  <a:ext uri="{FF2B5EF4-FFF2-40B4-BE49-F238E27FC236}">
                    <a16:creationId xmlns:a16="http://schemas.microsoft.com/office/drawing/2014/main" id="{4F172064-02B4-4E90-8E8A-D1C6B1AC1E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4" name="Picture 23">
                <a:extLst>
                  <a:ext uri="{FF2B5EF4-FFF2-40B4-BE49-F238E27FC236}">
                    <a16:creationId xmlns:a16="http://schemas.microsoft.com/office/drawing/2014/main" id="{F7BCBB20-CC87-4B97-8AF5-3DACB824CC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sp>
          <p:nvSpPr>
            <p:cNvPr id="11" name="Rectangle 10">
              <a:extLst>
                <a:ext uri="{FF2B5EF4-FFF2-40B4-BE49-F238E27FC236}">
                  <a16:creationId xmlns:a16="http://schemas.microsoft.com/office/drawing/2014/main" id="{CA9DD8AE-4246-42A6-B4D6-893B59C880F3}"/>
                </a:ext>
              </a:extLst>
            </p:cNvPr>
            <p:cNvSpPr/>
            <p:nvPr/>
          </p:nvSpPr>
          <p:spPr>
            <a:xfrm rot="16200000">
              <a:off x="1120879" y="3457506"/>
              <a:ext cx="3053561" cy="1319832"/>
            </a:xfrm>
            <a:prstGeom prst="rect">
              <a:avLst/>
            </a:prstGeom>
          </p:spPr>
          <p:txBody>
            <a:bodyPr wrap="square">
              <a:spAutoFit/>
            </a:bodyPr>
            <a:lstStyle/>
            <a:p>
              <a:pPr algn="ctr">
                <a:spcAft>
                  <a:spcPts val="1125"/>
                </a:spcAft>
              </a:pPr>
              <a:r>
                <a:rPr lang="en-GB" sz="1400" b="1">
                  <a:solidFill>
                    <a:srgbClr val="424242"/>
                  </a:solidFill>
                  <a:latin typeface="Roboto" panose="02000000000000000000"/>
                  <a:ea typeface="Times New Roman" panose="02020603050405020304" pitchFamily="18" charset="0"/>
                  <a:cs typeface="Arial" panose="020B0604020202020204" pitchFamily="34" charset="0"/>
                </a:rPr>
                <a:t>Connectivity </a:t>
              </a:r>
              <a:br>
                <a:rPr lang="en-GB" sz="1400" b="1">
                  <a:solidFill>
                    <a:srgbClr val="424242"/>
                  </a:solidFill>
                  <a:latin typeface="Roboto" panose="02000000000000000000"/>
                  <a:ea typeface="Times New Roman" panose="02020603050405020304" pitchFamily="18" charset="0"/>
                  <a:cs typeface="Arial" panose="020B0604020202020204" pitchFamily="34" charset="0"/>
                </a:rPr>
              </a:br>
              <a:r>
                <a:rPr lang="en-GB" sz="1400" b="1">
                  <a:solidFill>
                    <a:srgbClr val="424242"/>
                  </a:solidFill>
                  <a:latin typeface="Roboto" panose="02000000000000000000"/>
                  <a:ea typeface="Times New Roman" panose="02020603050405020304" pitchFamily="18" charset="0"/>
                  <a:cs typeface="Arial" panose="020B0604020202020204" pitchFamily="34" charset="0"/>
                </a:rPr>
                <a:t>and </a:t>
              </a:r>
              <a:br>
                <a:rPr lang="en-GB" sz="1400" b="1">
                  <a:solidFill>
                    <a:srgbClr val="424242"/>
                  </a:solidFill>
                  <a:latin typeface="Roboto" panose="02000000000000000000"/>
                  <a:ea typeface="Times New Roman" panose="02020603050405020304" pitchFamily="18" charset="0"/>
                  <a:cs typeface="Arial" panose="020B0604020202020204" pitchFamily="34" charset="0"/>
                </a:rPr>
              </a:br>
              <a:r>
                <a:rPr lang="en-GB" sz="1400" b="1">
                  <a:solidFill>
                    <a:srgbClr val="424242"/>
                  </a:solidFill>
                  <a:latin typeface="Roboto" panose="02000000000000000000"/>
                  <a:ea typeface="Times New Roman" panose="02020603050405020304" pitchFamily="18" charset="0"/>
                  <a:cs typeface="Arial" panose="020B0604020202020204" pitchFamily="34" charset="0"/>
                </a:rPr>
                <a:t>Infrastructure</a:t>
              </a:r>
              <a:endParaRPr lang="x-none" sz="1400">
                <a:solidFill>
                  <a:srgbClr val="424242"/>
                </a:solidFill>
                <a:latin typeface="Roboto" panose="02000000000000000000"/>
                <a:ea typeface="Times New Roman" panose="02020603050405020304" pitchFamily="18" charset="0"/>
                <a:cs typeface="Times New Roman" panose="02020603050405020304" pitchFamily="18" charset="0"/>
              </a:endParaRPr>
            </a:p>
          </p:txBody>
        </p:sp>
        <p:sp>
          <p:nvSpPr>
            <p:cNvPr id="12" name="Rectangle 11">
              <a:extLst>
                <a:ext uri="{FF2B5EF4-FFF2-40B4-BE49-F238E27FC236}">
                  <a16:creationId xmlns:a16="http://schemas.microsoft.com/office/drawing/2014/main" id="{BEE827BF-8AF4-4685-9D0E-3A048E4AC7D5}"/>
                </a:ext>
              </a:extLst>
            </p:cNvPr>
            <p:cNvSpPr/>
            <p:nvPr/>
          </p:nvSpPr>
          <p:spPr>
            <a:xfrm rot="16200000">
              <a:off x="3352692" y="3697654"/>
              <a:ext cx="2247054" cy="934880"/>
            </a:xfrm>
            <a:prstGeom prst="rect">
              <a:avLst/>
            </a:prstGeom>
          </p:spPr>
          <p:txBody>
            <a:bodyPr wrap="none">
              <a:spAutoFit/>
            </a:bodyPr>
            <a:lstStyle/>
            <a:p>
              <a:pPr algn="ctr">
                <a:spcAft>
                  <a:spcPts val="1125"/>
                </a:spcAft>
              </a:pPr>
              <a:r>
                <a:rPr lang="en-GB" sz="1400" b="1">
                  <a:solidFill>
                    <a:srgbClr val="424242"/>
                  </a:solidFill>
                  <a:latin typeface="Roboto" panose="02000000000000000000"/>
                  <a:cs typeface="Arial" panose="020B0604020202020204" pitchFamily="34" charset="0"/>
                </a:rPr>
                <a:t>Quality</a:t>
              </a:r>
              <a:br>
                <a:rPr lang="en-GB" sz="1400" b="1">
                  <a:solidFill>
                    <a:srgbClr val="424242"/>
                  </a:solidFill>
                  <a:latin typeface="Roboto" panose="02000000000000000000"/>
                  <a:cs typeface="Arial" panose="020B0604020202020204" pitchFamily="34" charset="0"/>
                </a:rPr>
              </a:br>
              <a:r>
                <a:rPr lang="en-GB" sz="1400" b="1">
                  <a:solidFill>
                    <a:srgbClr val="424242"/>
                  </a:solidFill>
                  <a:latin typeface="Roboto" panose="02000000000000000000"/>
                  <a:cs typeface="Arial" panose="020B0604020202020204" pitchFamily="34" charset="0"/>
                </a:rPr>
                <a:t>and Standards</a:t>
              </a:r>
              <a:endParaRPr lang="x-none" sz="1400" b="1">
                <a:solidFill>
                  <a:srgbClr val="424242"/>
                </a:solidFill>
                <a:latin typeface="Roboto" panose="02000000000000000000"/>
                <a:cs typeface="Arial" panose="020B0604020202020204" pitchFamily="34" charset="0"/>
              </a:endParaRPr>
            </a:p>
          </p:txBody>
        </p:sp>
        <p:sp>
          <p:nvSpPr>
            <p:cNvPr id="13" name="Rectangle 12">
              <a:extLst>
                <a:ext uri="{FF2B5EF4-FFF2-40B4-BE49-F238E27FC236}">
                  <a16:creationId xmlns:a16="http://schemas.microsoft.com/office/drawing/2014/main" id="{2E2294BE-0748-46C8-A138-58C9198B64CC}"/>
                </a:ext>
              </a:extLst>
            </p:cNvPr>
            <p:cNvSpPr/>
            <p:nvPr/>
          </p:nvSpPr>
          <p:spPr>
            <a:xfrm rot="16200000">
              <a:off x="5349499" y="3651048"/>
              <a:ext cx="2074040" cy="934880"/>
            </a:xfrm>
            <a:prstGeom prst="rect">
              <a:avLst/>
            </a:prstGeom>
          </p:spPr>
          <p:txBody>
            <a:bodyPr wrap="none">
              <a:spAutoFit/>
            </a:bodyPr>
            <a:lstStyle/>
            <a:p>
              <a:pPr algn="ctr">
                <a:spcAft>
                  <a:spcPts val="1125"/>
                </a:spcAft>
              </a:pPr>
              <a:r>
                <a:rPr lang="en-GB" sz="1400" b="1">
                  <a:solidFill>
                    <a:srgbClr val="424242"/>
                  </a:solidFill>
                  <a:latin typeface="Roboto" panose="02000000000000000000"/>
                  <a:cs typeface="Arial" panose="020B0604020202020204" pitchFamily="34" charset="0"/>
                </a:rPr>
                <a:t>Skills </a:t>
              </a:r>
              <a:br>
                <a:rPr lang="en-GB" sz="1400" b="1">
                  <a:solidFill>
                    <a:srgbClr val="424242"/>
                  </a:solidFill>
                  <a:latin typeface="Roboto" panose="02000000000000000000"/>
                  <a:cs typeface="Arial" panose="020B0604020202020204" pitchFamily="34" charset="0"/>
                </a:rPr>
              </a:br>
              <a:r>
                <a:rPr lang="en-GB" sz="1400" b="1">
                  <a:solidFill>
                    <a:srgbClr val="424242"/>
                  </a:solidFill>
                  <a:latin typeface="Roboto" panose="02000000000000000000"/>
                  <a:cs typeface="Arial" panose="020B0604020202020204" pitchFamily="34" charset="0"/>
                </a:rPr>
                <a:t>Development</a:t>
              </a:r>
              <a:endParaRPr lang="x-none" sz="1400" b="1">
                <a:solidFill>
                  <a:srgbClr val="424242"/>
                </a:solidFill>
                <a:latin typeface="Roboto" panose="02000000000000000000"/>
                <a:cs typeface="Arial" panose="020B0604020202020204" pitchFamily="34" charset="0"/>
              </a:endParaRPr>
            </a:p>
          </p:txBody>
        </p:sp>
        <p:sp>
          <p:nvSpPr>
            <p:cNvPr id="14" name="Rectangle 13">
              <a:extLst>
                <a:ext uri="{FF2B5EF4-FFF2-40B4-BE49-F238E27FC236}">
                  <a16:creationId xmlns:a16="http://schemas.microsoft.com/office/drawing/2014/main" id="{8F02E2A6-07FE-4481-9B2E-5E93EC2F691A}"/>
                </a:ext>
              </a:extLst>
            </p:cNvPr>
            <p:cNvSpPr/>
            <p:nvPr/>
          </p:nvSpPr>
          <p:spPr>
            <a:xfrm rot="16200000">
              <a:off x="7232184" y="3595883"/>
              <a:ext cx="2087347" cy="934880"/>
            </a:xfrm>
            <a:prstGeom prst="rect">
              <a:avLst/>
            </a:prstGeom>
          </p:spPr>
          <p:txBody>
            <a:bodyPr wrap="none">
              <a:spAutoFit/>
            </a:bodyPr>
            <a:lstStyle/>
            <a:p>
              <a:pPr algn="ctr">
                <a:spcAft>
                  <a:spcPts val="1125"/>
                </a:spcAft>
              </a:pPr>
              <a:r>
                <a:rPr lang="en-GB" sz="1400" b="1">
                  <a:solidFill>
                    <a:srgbClr val="424242"/>
                  </a:solidFill>
                  <a:latin typeface="Roboto" panose="02000000000000000000"/>
                  <a:cs typeface="Arial" panose="020B0604020202020204" pitchFamily="34" charset="0"/>
                </a:rPr>
                <a:t>Marketing</a:t>
              </a:r>
              <a:br>
                <a:rPr lang="en-GB" sz="1400" b="1">
                  <a:solidFill>
                    <a:srgbClr val="424242"/>
                  </a:solidFill>
                  <a:latin typeface="Roboto" panose="02000000000000000000"/>
                  <a:cs typeface="Arial" panose="020B0604020202020204" pitchFamily="34" charset="0"/>
                </a:rPr>
              </a:br>
              <a:r>
                <a:rPr lang="en-GB" sz="1400" b="1">
                  <a:solidFill>
                    <a:srgbClr val="424242"/>
                  </a:solidFill>
                  <a:latin typeface="Roboto" panose="02000000000000000000"/>
                  <a:cs typeface="Arial" panose="020B0604020202020204" pitchFamily="34" charset="0"/>
                </a:rPr>
                <a:t>and Branding</a:t>
              </a:r>
              <a:endParaRPr lang="x-none" sz="1400" b="1">
                <a:solidFill>
                  <a:srgbClr val="424242"/>
                </a:solidFill>
                <a:latin typeface="Roboto" panose="02000000000000000000"/>
                <a:cs typeface="Arial" panose="020B0604020202020204" pitchFamily="34" charset="0"/>
              </a:endParaRPr>
            </a:p>
          </p:txBody>
        </p:sp>
        <p:sp>
          <p:nvSpPr>
            <p:cNvPr id="15" name="Rectangle 14">
              <a:extLst>
                <a:ext uri="{FF2B5EF4-FFF2-40B4-BE49-F238E27FC236}">
                  <a16:creationId xmlns:a16="http://schemas.microsoft.com/office/drawing/2014/main" id="{E8E81F50-52EE-47C1-9C57-B7033300D4F5}"/>
                </a:ext>
              </a:extLst>
            </p:cNvPr>
            <p:cNvSpPr/>
            <p:nvPr/>
          </p:nvSpPr>
          <p:spPr>
            <a:xfrm rot="16200000">
              <a:off x="8965716" y="3682283"/>
              <a:ext cx="1938291" cy="934880"/>
            </a:xfrm>
            <a:prstGeom prst="rect">
              <a:avLst/>
            </a:prstGeom>
          </p:spPr>
          <p:txBody>
            <a:bodyPr wrap="none">
              <a:spAutoFit/>
            </a:bodyPr>
            <a:lstStyle/>
            <a:p>
              <a:pPr algn="ctr">
                <a:spcAft>
                  <a:spcPts val="1125"/>
                </a:spcAft>
              </a:pPr>
              <a:r>
                <a:rPr lang="en-GB" sz="1400" b="1">
                  <a:solidFill>
                    <a:srgbClr val="424242"/>
                  </a:solidFill>
                  <a:latin typeface="Roboto" panose="02000000000000000000"/>
                  <a:cs typeface="Arial" panose="020B0604020202020204" pitchFamily="34" charset="0"/>
                </a:rPr>
                <a:t>Market </a:t>
              </a:r>
              <a:br>
                <a:rPr lang="en-GB" sz="1400" b="1">
                  <a:solidFill>
                    <a:srgbClr val="424242"/>
                  </a:solidFill>
                  <a:latin typeface="Roboto" panose="02000000000000000000"/>
                  <a:cs typeface="Arial" panose="020B0604020202020204" pitchFamily="34" charset="0"/>
                </a:rPr>
              </a:br>
              <a:r>
                <a:rPr lang="en-GB" sz="1400" b="1">
                  <a:solidFill>
                    <a:srgbClr val="424242"/>
                  </a:solidFill>
                  <a:latin typeface="Roboto" panose="02000000000000000000"/>
                  <a:cs typeface="Arial" panose="020B0604020202020204" pitchFamily="34" charset="0"/>
                </a:rPr>
                <a:t>Intelligence</a:t>
              </a:r>
              <a:endParaRPr lang="x-none" sz="1400" b="1">
                <a:solidFill>
                  <a:srgbClr val="424242"/>
                </a:solidFill>
                <a:latin typeface="Roboto" panose="02000000000000000000"/>
                <a:cs typeface="Arial" panose="020B0604020202020204" pitchFamily="34" charset="0"/>
              </a:endParaRPr>
            </a:p>
          </p:txBody>
        </p:sp>
        <p:sp>
          <p:nvSpPr>
            <p:cNvPr id="16" name="Rectangle 15">
              <a:extLst>
                <a:ext uri="{FF2B5EF4-FFF2-40B4-BE49-F238E27FC236}">
                  <a16:creationId xmlns:a16="http://schemas.microsoft.com/office/drawing/2014/main" id="{E8F17F1B-F011-418B-894C-A1F49D3860FB}"/>
                </a:ext>
              </a:extLst>
            </p:cNvPr>
            <p:cNvSpPr/>
            <p:nvPr/>
          </p:nvSpPr>
          <p:spPr>
            <a:xfrm>
              <a:off x="4781089" y="1500751"/>
              <a:ext cx="3236489" cy="457844"/>
            </a:xfrm>
            <a:prstGeom prst="rect">
              <a:avLst/>
            </a:prstGeom>
          </p:spPr>
          <p:txBody>
            <a:bodyPr wrap="none">
              <a:spAutoFit/>
            </a:bodyPr>
            <a:lstStyle/>
            <a:p>
              <a:r>
                <a:rPr lang="en-GB" sz="1600" b="1">
                  <a:solidFill>
                    <a:schemeClr val="bg1"/>
                  </a:solidFill>
                  <a:latin typeface="Roboto" panose="02000000000000000000"/>
                  <a:ea typeface="Times New Roman" panose="02020603050405020304" pitchFamily="18" charset="0"/>
                  <a:cs typeface="Arial" panose="020B0604020202020204" pitchFamily="34" charset="0"/>
                </a:rPr>
                <a:t> Institutions and Governance</a:t>
              </a:r>
              <a:endParaRPr lang="en-US" sz="1600">
                <a:solidFill>
                  <a:schemeClr val="bg1"/>
                </a:solidFill>
              </a:endParaRPr>
            </a:p>
          </p:txBody>
        </p:sp>
        <p:sp>
          <p:nvSpPr>
            <p:cNvPr id="17" name="Rounded Rectangle 42">
              <a:extLst>
                <a:ext uri="{FF2B5EF4-FFF2-40B4-BE49-F238E27FC236}">
                  <a16:creationId xmlns:a16="http://schemas.microsoft.com/office/drawing/2014/main" id="{EBB71580-06F1-4C3F-9D1C-CFD0CFFA530D}"/>
                </a:ext>
              </a:extLst>
            </p:cNvPr>
            <p:cNvSpPr/>
            <p:nvPr/>
          </p:nvSpPr>
          <p:spPr>
            <a:xfrm>
              <a:off x="1553728" y="2148745"/>
              <a:ext cx="9084544" cy="15537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ed Rectangle 43">
              <a:extLst>
                <a:ext uri="{FF2B5EF4-FFF2-40B4-BE49-F238E27FC236}">
                  <a16:creationId xmlns:a16="http://schemas.microsoft.com/office/drawing/2014/main" id="{3BD44BB5-4467-4DBB-BB98-02C4229F1B4B}"/>
                </a:ext>
              </a:extLst>
            </p:cNvPr>
            <p:cNvSpPr/>
            <p:nvPr/>
          </p:nvSpPr>
          <p:spPr>
            <a:xfrm>
              <a:off x="1418455" y="5930723"/>
              <a:ext cx="9219819" cy="1099396"/>
            </a:xfrm>
            <a:prstGeom prst="roundRect">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D3FFEF12-7BAA-40C8-841A-34275B4F326C}"/>
                </a:ext>
              </a:extLst>
            </p:cNvPr>
            <p:cNvSpPr/>
            <p:nvPr/>
          </p:nvSpPr>
          <p:spPr>
            <a:xfrm>
              <a:off x="1391074" y="6023848"/>
              <a:ext cx="9486588" cy="790821"/>
            </a:xfrm>
            <a:prstGeom prst="rect">
              <a:avLst/>
            </a:prstGeom>
          </p:spPr>
          <p:txBody>
            <a:bodyPr wrap="square">
              <a:spAutoFit/>
            </a:bodyPr>
            <a:lstStyle/>
            <a:p>
              <a:pPr algn="ctr">
                <a:spcAft>
                  <a:spcPts val="1125"/>
                </a:spcAft>
              </a:pPr>
              <a:r>
                <a:rPr lang="en-GB" sz="1600" b="1">
                  <a:solidFill>
                    <a:srgbClr val="FFFFFF"/>
                  </a:solidFill>
                  <a:latin typeface="Roboto" panose="02000000000000000000"/>
                  <a:ea typeface="Times New Roman" panose="02020603050405020304" pitchFamily="18" charset="0"/>
                  <a:cs typeface="Arial" panose="020B0604020202020204" pitchFamily="34" charset="0"/>
                </a:rPr>
                <a:t>Cross-cutting Themes: Health, Safety and Security, Digitalization, Gender, Environmental Sustainability, Private Sector Participation, Universal Access</a:t>
              </a:r>
              <a:endParaRPr lang="x-none" sz="1600">
                <a:latin typeface="Roboto" panose="02000000000000000000"/>
                <a:ea typeface="Times New Roman" panose="02020603050405020304" pitchFamily="18" charset="0"/>
                <a:cs typeface="Times New Roman" panose="02020603050405020304" pitchFamily="18" charset="0"/>
              </a:endParaRPr>
            </a:p>
          </p:txBody>
        </p:sp>
        <p:sp>
          <p:nvSpPr>
            <p:cNvPr id="20" name="Rounded Rectangle 45">
              <a:extLst>
                <a:ext uri="{FF2B5EF4-FFF2-40B4-BE49-F238E27FC236}">
                  <a16:creationId xmlns:a16="http://schemas.microsoft.com/office/drawing/2014/main" id="{08EF2B02-2FA0-4BE7-82A7-8261326B63AE}"/>
                </a:ext>
              </a:extLst>
            </p:cNvPr>
            <p:cNvSpPr/>
            <p:nvPr/>
          </p:nvSpPr>
          <p:spPr>
            <a:xfrm>
              <a:off x="1387460" y="5790847"/>
              <a:ext cx="9250812" cy="1526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Oval 36">
            <a:extLst>
              <a:ext uri="{FF2B5EF4-FFF2-40B4-BE49-F238E27FC236}">
                <a16:creationId xmlns:a16="http://schemas.microsoft.com/office/drawing/2014/main" id="{59F66E4B-D114-4016-84BD-8DF9072E8C6A}"/>
              </a:ext>
            </a:extLst>
          </p:cNvPr>
          <p:cNvSpPr/>
          <p:nvPr/>
        </p:nvSpPr>
        <p:spPr>
          <a:xfrm>
            <a:off x="5747078" y="1796475"/>
            <a:ext cx="1204927" cy="2338408"/>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Arrow Connector 38">
            <a:extLst>
              <a:ext uri="{FF2B5EF4-FFF2-40B4-BE49-F238E27FC236}">
                <a16:creationId xmlns:a16="http://schemas.microsoft.com/office/drawing/2014/main" id="{C59722C0-D2F4-4BAD-AB9A-68EABAC16C34}"/>
              </a:ext>
            </a:extLst>
          </p:cNvPr>
          <p:cNvCxnSpPr>
            <a:cxnSpLocks/>
            <a:stCxn id="37" idx="4"/>
          </p:cNvCxnSpPr>
          <p:nvPr/>
        </p:nvCxnSpPr>
        <p:spPr>
          <a:xfrm>
            <a:off x="6349542" y="4134883"/>
            <a:ext cx="26284" cy="1123474"/>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40" name="TextBox 39">
            <a:extLst>
              <a:ext uri="{FF2B5EF4-FFF2-40B4-BE49-F238E27FC236}">
                <a16:creationId xmlns:a16="http://schemas.microsoft.com/office/drawing/2014/main" id="{49CF5EB2-7572-4601-A1B3-DE28232AB88C}"/>
              </a:ext>
            </a:extLst>
          </p:cNvPr>
          <p:cNvSpPr txBox="1"/>
          <p:nvPr/>
        </p:nvSpPr>
        <p:spPr>
          <a:xfrm>
            <a:off x="298054" y="5335712"/>
            <a:ext cx="11772716" cy="1169551"/>
          </a:xfrm>
          <a:prstGeom prst="rect">
            <a:avLst/>
          </a:prstGeom>
          <a:noFill/>
        </p:spPr>
        <p:txBody>
          <a:bodyPr wrap="square" lIns="91440" tIns="45720" rIns="91440" bIns="45720" rtlCol="0" anchor="t">
            <a:spAutoFit/>
          </a:bodyPr>
          <a:lstStyle/>
          <a:p>
            <a:pPr marL="400050" indent="-400050">
              <a:spcAft>
                <a:spcPts val="1200"/>
              </a:spcAft>
              <a:buClr>
                <a:schemeClr val="accent1"/>
              </a:buClr>
              <a:buFont typeface="Wingdings" pitchFamily="2" charset="2"/>
              <a:buChar char="§"/>
            </a:pPr>
            <a:r>
              <a:rPr lang="en-US" sz="2000">
                <a:solidFill>
                  <a:schemeClr val="tx1">
                    <a:lumMod val="75000"/>
                  </a:schemeClr>
                </a:solidFill>
                <a:latin typeface="Roboto" panose="02000000000000000000"/>
                <a:cs typeface="Arial"/>
              </a:rPr>
              <a:t>Marketing strategies and initiatives to reinforce countries’ image as safe tourism destinations;</a:t>
            </a:r>
          </a:p>
          <a:p>
            <a:pPr marL="400050" indent="-400050">
              <a:spcAft>
                <a:spcPts val="1200"/>
              </a:spcAft>
              <a:buClr>
                <a:schemeClr val="accent1"/>
              </a:buClr>
              <a:buFont typeface="Wingdings" pitchFamily="2" charset="2"/>
              <a:buChar char="§"/>
            </a:pPr>
            <a:r>
              <a:rPr lang="en-US" sz="2000">
                <a:solidFill>
                  <a:schemeClr val="tx1">
                    <a:lumMod val="75000"/>
                  </a:schemeClr>
                </a:solidFill>
                <a:latin typeface="Arial"/>
                <a:ea typeface="Calibri" panose="020F0502020204030204" pitchFamily="34" charset="0"/>
                <a:cs typeface="Arial"/>
              </a:rPr>
              <a:t>Building a common brand “</a:t>
            </a:r>
            <a:r>
              <a:rPr lang="en-US" sz="2000" b="1">
                <a:solidFill>
                  <a:schemeClr val="tx1">
                    <a:lumMod val="75000"/>
                  </a:schemeClr>
                </a:solidFill>
                <a:latin typeface="Arial"/>
                <a:ea typeface="Calibri" panose="020F0502020204030204" pitchFamily="34" charset="0"/>
                <a:cs typeface="Arial"/>
              </a:rPr>
              <a:t>Visit Silk Road</a:t>
            </a:r>
            <a:r>
              <a:rPr lang="en-US" sz="2000">
                <a:solidFill>
                  <a:schemeClr val="tx1">
                    <a:lumMod val="75000"/>
                  </a:schemeClr>
                </a:solidFill>
                <a:latin typeface="Arial"/>
                <a:ea typeface="Calibri" panose="020F0502020204030204" pitchFamily="34" charset="0"/>
                <a:cs typeface="Arial"/>
              </a:rPr>
              <a:t>” through the development of the </a:t>
            </a:r>
            <a:r>
              <a:rPr lang="en-US" sz="2000" b="1">
                <a:solidFill>
                  <a:schemeClr val="tx1">
                    <a:lumMod val="75000"/>
                  </a:schemeClr>
                </a:solidFill>
                <a:latin typeface="Arial"/>
                <a:ea typeface="Calibri" panose="020F0502020204030204" pitchFamily="34" charset="0"/>
                <a:cs typeface="Arial"/>
              </a:rPr>
              <a:t>CAREC tourism web portal</a:t>
            </a:r>
            <a:endParaRPr lang="en-US" sz="2000" b="1">
              <a:solidFill>
                <a:schemeClr val="tx1">
                  <a:lumMod val="75000"/>
                </a:schemeClr>
              </a:solidFill>
              <a:latin typeface="Arial"/>
              <a:cs typeface="Arial"/>
            </a:endParaRPr>
          </a:p>
        </p:txBody>
      </p:sp>
    </p:spTree>
    <p:extLst>
      <p:ext uri="{BB962C8B-B14F-4D97-AF65-F5344CB8AC3E}">
        <p14:creationId xmlns:p14="http://schemas.microsoft.com/office/powerpoint/2010/main" val="3947124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20A2F6-D33F-D846-BA6B-92C4DEAE819F}"/>
              </a:ext>
            </a:extLst>
          </p:cNvPr>
          <p:cNvSpPr/>
          <p:nvPr/>
        </p:nvSpPr>
        <p:spPr>
          <a:xfrm>
            <a:off x="1197494" y="696976"/>
            <a:ext cx="9974615" cy="769441"/>
          </a:xfrm>
          <a:prstGeom prst="rect">
            <a:avLst/>
          </a:prstGeom>
        </p:spPr>
        <p:txBody>
          <a:bodyPr wrap="square">
            <a:spAutoFit/>
          </a:bodyPr>
          <a:lstStyle/>
          <a:p>
            <a:r>
              <a:rPr lang="en-US" sz="2200" b="1">
                <a:latin typeface="Roboto" panose="02000000000000000000"/>
                <a:cs typeface="Arial" panose="020B0604020202020204" pitchFamily="34" charset="0"/>
              </a:rPr>
              <a:t>The portal provides content to different audiences which creates traffic synergies and opportunities for sustaining the project.</a:t>
            </a:r>
            <a:endParaRPr lang="x-none" sz="2200">
              <a:latin typeface="Roboto" panose="02000000000000000000"/>
            </a:endParaRPr>
          </a:p>
        </p:txBody>
      </p:sp>
      <p:sp>
        <p:nvSpPr>
          <p:cNvPr id="28" name="Retângulo arredondado 11">
            <a:extLst>
              <a:ext uri="{FF2B5EF4-FFF2-40B4-BE49-F238E27FC236}">
                <a16:creationId xmlns:a16="http://schemas.microsoft.com/office/drawing/2014/main" id="{3AAD10DF-2654-504A-B564-49C6FF30881C}"/>
              </a:ext>
            </a:extLst>
          </p:cNvPr>
          <p:cNvSpPr/>
          <p:nvPr/>
        </p:nvSpPr>
        <p:spPr>
          <a:xfrm>
            <a:off x="628062" y="2031668"/>
            <a:ext cx="5307301" cy="2072166"/>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Roboto" panose="02000000000000000000"/>
            </a:endParaRPr>
          </a:p>
        </p:txBody>
      </p:sp>
      <p:sp>
        <p:nvSpPr>
          <p:cNvPr id="29" name="CaixaDeTexto 12">
            <a:extLst>
              <a:ext uri="{FF2B5EF4-FFF2-40B4-BE49-F238E27FC236}">
                <a16:creationId xmlns:a16="http://schemas.microsoft.com/office/drawing/2014/main" id="{BE1EEFF4-23F8-7840-8A33-C484E948F2CE}"/>
              </a:ext>
            </a:extLst>
          </p:cNvPr>
          <p:cNvSpPr txBox="1"/>
          <p:nvPr/>
        </p:nvSpPr>
        <p:spPr>
          <a:xfrm>
            <a:off x="1962508" y="1688535"/>
            <a:ext cx="2036708" cy="369332"/>
          </a:xfrm>
          <a:prstGeom prst="rect">
            <a:avLst/>
          </a:prstGeom>
          <a:noFill/>
        </p:spPr>
        <p:txBody>
          <a:bodyPr wrap="square" rtlCol="0">
            <a:spAutoFit/>
          </a:bodyPr>
          <a:lstStyle/>
          <a:p>
            <a:pPr algn="ctr"/>
            <a:r>
              <a:rPr lang="en-US" b="1">
                <a:latin typeface="Roboto" panose="02000000000000000000"/>
              </a:rPr>
              <a:t>Tourism Content</a:t>
            </a:r>
          </a:p>
        </p:txBody>
      </p:sp>
      <p:sp>
        <p:nvSpPr>
          <p:cNvPr id="31" name="CaixaDeTexto 13">
            <a:extLst>
              <a:ext uri="{FF2B5EF4-FFF2-40B4-BE49-F238E27FC236}">
                <a16:creationId xmlns:a16="http://schemas.microsoft.com/office/drawing/2014/main" id="{41B20CBC-8DDD-E147-A56A-588CE8212C0F}"/>
              </a:ext>
            </a:extLst>
          </p:cNvPr>
          <p:cNvSpPr txBox="1"/>
          <p:nvPr/>
        </p:nvSpPr>
        <p:spPr>
          <a:xfrm>
            <a:off x="691188" y="2146350"/>
            <a:ext cx="4995933" cy="1754326"/>
          </a:xfrm>
          <a:prstGeom prst="rect">
            <a:avLst/>
          </a:prstGeom>
          <a:noFill/>
        </p:spPr>
        <p:txBody>
          <a:bodyPr wrap="square" rtlCol="0">
            <a:spAutoFit/>
          </a:bodyPr>
          <a:lstStyle/>
          <a:p>
            <a:r>
              <a:rPr lang="en-US">
                <a:latin typeface="Roboto" panose="02000000000000000000"/>
              </a:rPr>
              <a:t>Countries, Regions and Assets, Clusters, Partner’s Experiences</a:t>
            </a:r>
          </a:p>
          <a:p>
            <a:r>
              <a:rPr lang="en-US">
                <a:latin typeface="Roboto" panose="02000000000000000000"/>
              </a:rPr>
              <a:t>(Where, What, How, Who)</a:t>
            </a:r>
          </a:p>
          <a:p>
            <a:r>
              <a:rPr lang="en-US">
                <a:latin typeface="Roboto" panose="02000000000000000000"/>
              </a:rPr>
              <a:t>Travel Guides and Editorial</a:t>
            </a:r>
          </a:p>
          <a:p>
            <a:r>
              <a:rPr lang="en-US">
                <a:latin typeface="Roboto" panose="02000000000000000000"/>
              </a:rPr>
              <a:t>(Aggregators, Storytelling, Traffic builders, SEO)</a:t>
            </a:r>
          </a:p>
        </p:txBody>
      </p:sp>
      <p:sp>
        <p:nvSpPr>
          <p:cNvPr id="33" name="Retângulo arredondado 15">
            <a:extLst>
              <a:ext uri="{FF2B5EF4-FFF2-40B4-BE49-F238E27FC236}">
                <a16:creationId xmlns:a16="http://schemas.microsoft.com/office/drawing/2014/main" id="{211FA308-C099-3344-B611-5EE94DEADDAC}"/>
              </a:ext>
            </a:extLst>
          </p:cNvPr>
          <p:cNvSpPr/>
          <p:nvPr/>
        </p:nvSpPr>
        <p:spPr>
          <a:xfrm>
            <a:off x="617164" y="4747369"/>
            <a:ext cx="5307301" cy="1660044"/>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a:endParaRPr>
          </a:p>
        </p:txBody>
      </p:sp>
      <p:sp>
        <p:nvSpPr>
          <p:cNvPr id="34" name="CaixaDeTexto 16">
            <a:extLst>
              <a:ext uri="{FF2B5EF4-FFF2-40B4-BE49-F238E27FC236}">
                <a16:creationId xmlns:a16="http://schemas.microsoft.com/office/drawing/2014/main" id="{9B593572-BEE6-4349-BFD5-D72BA68E7FB0}"/>
              </a:ext>
            </a:extLst>
          </p:cNvPr>
          <p:cNvSpPr txBox="1"/>
          <p:nvPr/>
        </p:nvSpPr>
        <p:spPr>
          <a:xfrm>
            <a:off x="676802" y="4878178"/>
            <a:ext cx="4995933" cy="1477328"/>
          </a:xfrm>
          <a:prstGeom prst="rect">
            <a:avLst/>
          </a:prstGeom>
          <a:noFill/>
        </p:spPr>
        <p:txBody>
          <a:bodyPr wrap="square" rtlCol="0">
            <a:spAutoFit/>
          </a:bodyPr>
          <a:lstStyle/>
          <a:p>
            <a:r>
              <a:rPr lang="en-US">
                <a:latin typeface="Roboto" panose="02000000000000000000"/>
              </a:rPr>
              <a:t>Tourism Development</a:t>
            </a:r>
          </a:p>
          <a:p>
            <a:r>
              <a:rPr lang="en-US">
                <a:latin typeface="Roboto" panose="02000000000000000000"/>
              </a:rPr>
              <a:t>Tourism Data and Statistics (R)</a:t>
            </a:r>
          </a:p>
          <a:p>
            <a:r>
              <a:rPr lang="en-US">
                <a:latin typeface="Roboto" panose="02000000000000000000"/>
              </a:rPr>
              <a:t>Tourism Publications (R)</a:t>
            </a:r>
          </a:p>
          <a:p>
            <a:r>
              <a:rPr lang="en-US">
                <a:latin typeface="Roboto" panose="02000000000000000000"/>
              </a:rPr>
              <a:t>Events</a:t>
            </a:r>
          </a:p>
          <a:p>
            <a:r>
              <a:rPr lang="en-US">
                <a:latin typeface="Roboto" panose="02000000000000000000"/>
              </a:rPr>
              <a:t>Contacts</a:t>
            </a:r>
          </a:p>
        </p:txBody>
      </p:sp>
      <p:sp>
        <p:nvSpPr>
          <p:cNvPr id="39" name="CaixaDeTexto 17">
            <a:extLst>
              <a:ext uri="{FF2B5EF4-FFF2-40B4-BE49-F238E27FC236}">
                <a16:creationId xmlns:a16="http://schemas.microsoft.com/office/drawing/2014/main" id="{EA743B8B-643A-8B48-82D5-1315AC9861D8}"/>
              </a:ext>
            </a:extLst>
          </p:cNvPr>
          <p:cNvSpPr txBox="1"/>
          <p:nvPr/>
        </p:nvSpPr>
        <p:spPr>
          <a:xfrm>
            <a:off x="2412081" y="4283999"/>
            <a:ext cx="2437222" cy="369332"/>
          </a:xfrm>
          <a:prstGeom prst="rect">
            <a:avLst/>
          </a:prstGeom>
          <a:noFill/>
        </p:spPr>
        <p:txBody>
          <a:bodyPr wrap="square" rtlCol="0">
            <a:spAutoFit/>
          </a:bodyPr>
          <a:lstStyle/>
          <a:p>
            <a:pPr algn="ctr"/>
            <a:r>
              <a:rPr lang="en-US" b="1">
                <a:latin typeface="Roboto" panose="02000000000000000000"/>
              </a:rPr>
              <a:t>Institutional Content</a:t>
            </a:r>
          </a:p>
        </p:txBody>
      </p:sp>
      <p:sp>
        <p:nvSpPr>
          <p:cNvPr id="46" name="Retângulo arredondado 19">
            <a:extLst>
              <a:ext uri="{FF2B5EF4-FFF2-40B4-BE49-F238E27FC236}">
                <a16:creationId xmlns:a16="http://schemas.microsoft.com/office/drawing/2014/main" id="{7DC5AE39-D126-7043-9450-BB97914B5D4C}"/>
              </a:ext>
            </a:extLst>
          </p:cNvPr>
          <p:cNvSpPr/>
          <p:nvPr/>
        </p:nvSpPr>
        <p:spPr>
          <a:xfrm>
            <a:off x="6345723" y="2031668"/>
            <a:ext cx="5307301" cy="2030431"/>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a:endParaRPr>
          </a:p>
        </p:txBody>
      </p:sp>
      <p:sp>
        <p:nvSpPr>
          <p:cNvPr id="47" name="CaixaDeTexto 20">
            <a:extLst>
              <a:ext uri="{FF2B5EF4-FFF2-40B4-BE49-F238E27FC236}">
                <a16:creationId xmlns:a16="http://schemas.microsoft.com/office/drawing/2014/main" id="{936D2594-6C8A-ED4C-9C6D-4799A800D799}"/>
              </a:ext>
            </a:extLst>
          </p:cNvPr>
          <p:cNvSpPr txBox="1"/>
          <p:nvPr/>
        </p:nvSpPr>
        <p:spPr>
          <a:xfrm>
            <a:off x="7537927" y="1614712"/>
            <a:ext cx="2019809" cy="369332"/>
          </a:xfrm>
          <a:prstGeom prst="rect">
            <a:avLst/>
          </a:prstGeom>
          <a:noFill/>
        </p:spPr>
        <p:txBody>
          <a:bodyPr wrap="square" rtlCol="0">
            <a:spAutoFit/>
          </a:bodyPr>
          <a:lstStyle/>
          <a:p>
            <a:pPr algn="ctr"/>
            <a:r>
              <a:rPr lang="en-US" b="1">
                <a:latin typeface="Roboto" panose="02000000000000000000"/>
              </a:rPr>
              <a:t>Investor Content</a:t>
            </a:r>
          </a:p>
        </p:txBody>
      </p:sp>
      <p:sp>
        <p:nvSpPr>
          <p:cNvPr id="48" name="CaixaDeTexto 21">
            <a:extLst>
              <a:ext uri="{FF2B5EF4-FFF2-40B4-BE49-F238E27FC236}">
                <a16:creationId xmlns:a16="http://schemas.microsoft.com/office/drawing/2014/main" id="{E0BF8EBF-AB4F-334B-A4A4-296D53BC2197}"/>
              </a:ext>
            </a:extLst>
          </p:cNvPr>
          <p:cNvSpPr txBox="1"/>
          <p:nvPr/>
        </p:nvSpPr>
        <p:spPr>
          <a:xfrm>
            <a:off x="6810387" y="2101463"/>
            <a:ext cx="4635261" cy="1754326"/>
          </a:xfrm>
          <a:prstGeom prst="rect">
            <a:avLst/>
          </a:prstGeom>
          <a:noFill/>
        </p:spPr>
        <p:txBody>
          <a:bodyPr wrap="square" rtlCol="0">
            <a:spAutoFit/>
          </a:bodyPr>
          <a:lstStyle>
            <a:defPPr>
              <a:defRPr lang="en-US"/>
            </a:defPPr>
            <a:lvl1pPr>
              <a:defRPr sz="1400" b="1"/>
            </a:lvl1pPr>
          </a:lstStyle>
          <a:p>
            <a:r>
              <a:rPr lang="en-US" sz="1800" b="0">
                <a:latin typeface="Roboto" panose="02000000000000000000"/>
              </a:rPr>
              <a:t>Investment Regulations &amp; Legislation</a:t>
            </a:r>
          </a:p>
          <a:p>
            <a:r>
              <a:rPr lang="en-US" sz="1800" b="0">
                <a:latin typeface="Roboto" panose="02000000000000000000"/>
              </a:rPr>
              <a:t>(Regulatory framework, financing mechanisms and alternatives for each country and for the region)</a:t>
            </a:r>
          </a:p>
          <a:p>
            <a:r>
              <a:rPr lang="en-US" sz="1800" b="0">
                <a:latin typeface="Roboto" panose="02000000000000000000"/>
              </a:rPr>
              <a:t>Investment Projects (R)</a:t>
            </a:r>
          </a:p>
          <a:p>
            <a:r>
              <a:rPr lang="en-US" sz="1800" b="0">
                <a:latin typeface="Roboto" panose="02000000000000000000"/>
              </a:rPr>
              <a:t>(Tourism Investment projects)</a:t>
            </a:r>
          </a:p>
        </p:txBody>
      </p:sp>
      <p:sp>
        <p:nvSpPr>
          <p:cNvPr id="49" name="Retângulo arredondado 22">
            <a:extLst>
              <a:ext uri="{FF2B5EF4-FFF2-40B4-BE49-F238E27FC236}">
                <a16:creationId xmlns:a16="http://schemas.microsoft.com/office/drawing/2014/main" id="{15461027-70AD-814A-A975-51A76FFEB655}"/>
              </a:ext>
            </a:extLst>
          </p:cNvPr>
          <p:cNvSpPr/>
          <p:nvPr/>
        </p:nvSpPr>
        <p:spPr>
          <a:xfrm>
            <a:off x="6345723" y="4702385"/>
            <a:ext cx="5307301" cy="1705028"/>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Roboto" panose="02000000000000000000"/>
            </a:endParaRPr>
          </a:p>
        </p:txBody>
      </p:sp>
      <p:sp>
        <p:nvSpPr>
          <p:cNvPr id="50" name="CaixaDeTexto 23">
            <a:extLst>
              <a:ext uri="{FF2B5EF4-FFF2-40B4-BE49-F238E27FC236}">
                <a16:creationId xmlns:a16="http://schemas.microsoft.com/office/drawing/2014/main" id="{6FAEC455-B152-B446-9AA6-66918A2A4C46}"/>
              </a:ext>
            </a:extLst>
          </p:cNvPr>
          <p:cNvSpPr txBox="1"/>
          <p:nvPr/>
        </p:nvSpPr>
        <p:spPr>
          <a:xfrm>
            <a:off x="6882398" y="4807485"/>
            <a:ext cx="4289711" cy="1477328"/>
          </a:xfrm>
          <a:prstGeom prst="rect">
            <a:avLst/>
          </a:prstGeom>
          <a:noFill/>
        </p:spPr>
        <p:txBody>
          <a:bodyPr wrap="square" rtlCol="0">
            <a:spAutoFit/>
          </a:bodyPr>
          <a:lstStyle>
            <a:defPPr>
              <a:defRPr lang="en-US"/>
            </a:defPPr>
            <a:lvl1pPr>
              <a:defRPr sz="1400" b="1"/>
            </a:lvl1pPr>
          </a:lstStyle>
          <a:p>
            <a:r>
              <a:rPr lang="en-US" sz="1800" b="0">
                <a:latin typeface="Roboto" panose="02000000000000000000"/>
              </a:rPr>
              <a:t>Learning Programs </a:t>
            </a:r>
          </a:p>
          <a:p>
            <a:r>
              <a:rPr lang="en-US" sz="1800" b="0">
                <a:latin typeface="Roboto" panose="02000000000000000000"/>
              </a:rPr>
              <a:t>(practical information, scholarships and government sponsored programs for Tourism and Hospitality education on SilkRoad countries)</a:t>
            </a:r>
          </a:p>
        </p:txBody>
      </p:sp>
      <p:sp>
        <p:nvSpPr>
          <p:cNvPr id="51" name="CaixaDeTexto 24">
            <a:extLst>
              <a:ext uri="{FF2B5EF4-FFF2-40B4-BE49-F238E27FC236}">
                <a16:creationId xmlns:a16="http://schemas.microsoft.com/office/drawing/2014/main" id="{9300997C-69BF-194B-B4C5-B1729384011A}"/>
              </a:ext>
            </a:extLst>
          </p:cNvPr>
          <p:cNvSpPr txBox="1"/>
          <p:nvPr/>
        </p:nvSpPr>
        <p:spPr>
          <a:xfrm>
            <a:off x="6731754" y="4219407"/>
            <a:ext cx="3632156" cy="369332"/>
          </a:xfrm>
          <a:prstGeom prst="rect">
            <a:avLst/>
          </a:prstGeom>
          <a:noFill/>
        </p:spPr>
        <p:txBody>
          <a:bodyPr wrap="square" rtlCol="0">
            <a:spAutoFit/>
          </a:bodyPr>
          <a:lstStyle/>
          <a:p>
            <a:pPr algn="ctr"/>
            <a:r>
              <a:rPr lang="en-US" b="1">
                <a:latin typeface="Roboto" panose="02000000000000000000"/>
              </a:rPr>
              <a:t>Education Content</a:t>
            </a:r>
          </a:p>
        </p:txBody>
      </p:sp>
      <p:sp>
        <p:nvSpPr>
          <p:cNvPr id="52" name="Oval 51">
            <a:extLst>
              <a:ext uri="{FF2B5EF4-FFF2-40B4-BE49-F238E27FC236}">
                <a16:creationId xmlns:a16="http://schemas.microsoft.com/office/drawing/2014/main" id="{83597922-2EB4-2A41-9E25-AB52B7E6AF3F}"/>
              </a:ext>
            </a:extLst>
          </p:cNvPr>
          <p:cNvSpPr/>
          <p:nvPr/>
        </p:nvSpPr>
        <p:spPr>
          <a:xfrm>
            <a:off x="4951142" y="3559197"/>
            <a:ext cx="2129882" cy="1660044"/>
          </a:xfrm>
          <a:prstGeom prst="ellipse">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lumMod val="75000"/>
                  </a:schemeClr>
                </a:solidFill>
                <a:latin typeface="Roboto" panose="02000000000000000000"/>
              </a:rPr>
              <a:t>synergies</a:t>
            </a:r>
          </a:p>
        </p:txBody>
      </p:sp>
      <p:sp>
        <p:nvSpPr>
          <p:cNvPr id="18" name="TextBox 17">
            <a:extLst>
              <a:ext uri="{FF2B5EF4-FFF2-40B4-BE49-F238E27FC236}">
                <a16:creationId xmlns:a16="http://schemas.microsoft.com/office/drawing/2014/main" id="{D6495175-6B10-419E-AC29-A3366F24BDCF}"/>
              </a:ext>
            </a:extLst>
          </p:cNvPr>
          <p:cNvSpPr txBox="1"/>
          <p:nvPr/>
        </p:nvSpPr>
        <p:spPr>
          <a:xfrm>
            <a:off x="2904899" y="87016"/>
            <a:ext cx="6272982" cy="461665"/>
          </a:xfrm>
          <a:prstGeom prst="rect">
            <a:avLst/>
          </a:prstGeom>
          <a:noFill/>
        </p:spPr>
        <p:txBody>
          <a:bodyPr wrap="square" rtlCol="0">
            <a:spAutoFit/>
          </a:bodyPr>
          <a:lstStyle/>
          <a:p>
            <a:pPr algn="ctr"/>
            <a:r>
              <a:rPr lang="en-US" sz="2400" b="1">
                <a:solidFill>
                  <a:srgbClr val="002060"/>
                </a:solidFill>
                <a:latin typeface="Roboto"/>
                <a:cs typeface="Arial" panose="020B0604020202020204" pitchFamily="34" charset="0"/>
              </a:rPr>
              <a:t>CAREC Tourism Web Portal: Content</a:t>
            </a:r>
            <a:endParaRPr lang="en-US" sz="2400" b="1">
              <a:solidFill>
                <a:srgbClr val="002060"/>
              </a:solidFill>
              <a:latin typeface="Roboto"/>
            </a:endParaRPr>
          </a:p>
        </p:txBody>
      </p:sp>
    </p:spTree>
    <p:extLst>
      <p:ext uri="{BB962C8B-B14F-4D97-AF65-F5344CB8AC3E}">
        <p14:creationId xmlns:p14="http://schemas.microsoft.com/office/powerpoint/2010/main" val="972413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C53D918-7F90-9B53-F586-3E9FBC19D556}"/>
              </a:ext>
            </a:extLst>
          </p:cNvPr>
          <p:cNvPicPr>
            <a:picLocks noChangeAspect="1"/>
          </p:cNvPicPr>
          <p:nvPr/>
        </p:nvPicPr>
        <p:blipFill rotWithShape="1">
          <a:blip r:embed="rId3"/>
          <a:srcRect t="9091" r="9511" b="2"/>
          <a:stretch/>
        </p:blipFill>
        <p:spPr>
          <a:xfrm>
            <a:off x="3523488" y="0"/>
            <a:ext cx="8668512" cy="6857990"/>
          </a:xfrm>
          <a:prstGeom prst="rect">
            <a:avLst/>
          </a:prstGeom>
        </p:spPr>
      </p:pic>
      <p:sp>
        <p:nvSpPr>
          <p:cNvPr id="10" name="Rectangle 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DA879AD2-52A6-40AA-A8BF-2F1676AA7E86}"/>
              </a:ext>
            </a:extLst>
          </p:cNvPr>
          <p:cNvSpPr txBox="1"/>
          <p:nvPr/>
        </p:nvSpPr>
        <p:spPr>
          <a:xfrm>
            <a:off x="481029" y="1370096"/>
            <a:ext cx="5977644" cy="2297226"/>
          </a:xfrm>
          <a:prstGeom prst="rect">
            <a:avLst/>
          </a:prstGeom>
        </p:spPr>
        <p:txBody>
          <a:bodyPr vert="horz" lIns="91440" tIns="45720" rIns="91440" bIns="45720" rtlCol="0" anchor="b">
            <a:normAutofit fontScale="92500" lnSpcReduction="10000"/>
          </a:bodyPr>
          <a:lstStyle/>
          <a:p>
            <a:pPr>
              <a:lnSpc>
                <a:spcPct val="90000"/>
              </a:lnSpc>
              <a:spcBef>
                <a:spcPct val="0"/>
              </a:spcBef>
              <a:spcAft>
                <a:spcPts val="600"/>
              </a:spcAft>
            </a:pPr>
            <a:r>
              <a:rPr lang="en-US" sz="4400" b="1">
                <a:solidFill>
                  <a:schemeClr val="bg1"/>
                </a:solidFill>
                <a:latin typeface="+mj-lt"/>
                <a:ea typeface="+mj-ea"/>
                <a:cs typeface="+mj-cs"/>
              </a:rPr>
              <a:t>Welcome to </a:t>
            </a:r>
            <a:r>
              <a:rPr lang="en-US" sz="4400" b="1" u="sng" err="1">
                <a:solidFill>
                  <a:schemeClr val="bg1"/>
                </a:solidFill>
                <a:latin typeface="+mj-lt"/>
                <a:ea typeface="+mj-ea"/>
                <a:cs typeface="+mj-cs"/>
              </a:rPr>
              <a:t>www.visitsilkroad.org</a:t>
            </a:r>
            <a:r>
              <a:rPr lang="en-US" sz="4400" b="1">
                <a:solidFill>
                  <a:schemeClr val="bg1"/>
                </a:solidFill>
                <a:latin typeface="+mj-lt"/>
                <a:ea typeface="+mj-ea"/>
                <a:cs typeface="+mj-cs"/>
              </a:rPr>
              <a:t> CAREC Tourism virtual portal</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9E45218D-356F-913A-BDDD-3A5E6170DC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4592" y="87202"/>
            <a:ext cx="1076961" cy="1076961"/>
          </a:xfrm>
          <a:prstGeom prst="rect">
            <a:avLst/>
          </a:prstGeom>
        </p:spPr>
      </p:pic>
    </p:spTree>
    <p:extLst>
      <p:ext uri="{BB962C8B-B14F-4D97-AF65-F5344CB8AC3E}">
        <p14:creationId xmlns:p14="http://schemas.microsoft.com/office/powerpoint/2010/main" val="4036976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01393A-6273-439B-AACF-16ED5D6812F4}"/>
              </a:ext>
            </a:extLst>
          </p:cNvPr>
          <p:cNvSpPr txBox="1"/>
          <p:nvPr/>
        </p:nvSpPr>
        <p:spPr>
          <a:xfrm>
            <a:off x="0" y="23233"/>
            <a:ext cx="7883512" cy="646331"/>
          </a:xfrm>
          <a:prstGeom prst="rect">
            <a:avLst/>
          </a:prstGeom>
          <a:noFill/>
        </p:spPr>
        <p:txBody>
          <a:bodyPr wrap="square" rtlCol="0">
            <a:spAutoFit/>
          </a:bodyPr>
          <a:lstStyle/>
          <a:p>
            <a:pPr algn="ctr"/>
            <a:r>
              <a:rPr lang="en-US" sz="3600" b="1" u="sng">
                <a:solidFill>
                  <a:srgbClr val="002060"/>
                </a:solidFill>
                <a:latin typeface="Roboto"/>
                <a:cs typeface="Arial" panose="020B0604020202020204" pitchFamily="34" charset="0"/>
              </a:rPr>
              <a:t>www.visitsilkroad.org</a:t>
            </a:r>
            <a:endParaRPr lang="en-US" sz="2000" b="1">
              <a:solidFill>
                <a:srgbClr val="002060"/>
              </a:solidFill>
              <a:latin typeface="Roboto"/>
              <a:cs typeface="Arial" panose="020B0604020202020204" pitchFamily="34" charset="0"/>
            </a:endParaRPr>
          </a:p>
        </p:txBody>
      </p:sp>
      <p:pic>
        <p:nvPicPr>
          <p:cNvPr id="12" name="Picture 11">
            <a:extLst>
              <a:ext uri="{FF2B5EF4-FFF2-40B4-BE49-F238E27FC236}">
                <a16:creationId xmlns:a16="http://schemas.microsoft.com/office/drawing/2014/main" id="{720E4375-8F56-B524-87F2-B3ABC05E28EF}"/>
              </a:ext>
            </a:extLst>
          </p:cNvPr>
          <p:cNvPicPr>
            <a:picLocks noChangeAspect="1"/>
          </p:cNvPicPr>
          <p:nvPr/>
        </p:nvPicPr>
        <p:blipFill>
          <a:blip r:embed="rId3"/>
          <a:stretch>
            <a:fillRect/>
          </a:stretch>
        </p:blipFill>
        <p:spPr>
          <a:xfrm>
            <a:off x="21933" y="620110"/>
            <a:ext cx="7197182" cy="6237890"/>
          </a:xfrm>
          <a:prstGeom prst="rect">
            <a:avLst/>
          </a:prstGeom>
        </p:spPr>
      </p:pic>
      <p:pic>
        <p:nvPicPr>
          <p:cNvPr id="10" name="Picture 9">
            <a:extLst>
              <a:ext uri="{FF2B5EF4-FFF2-40B4-BE49-F238E27FC236}">
                <a16:creationId xmlns:a16="http://schemas.microsoft.com/office/drawing/2014/main" id="{E3A9426B-1193-984E-C596-C4C703B1D04C}"/>
              </a:ext>
            </a:extLst>
          </p:cNvPr>
          <p:cNvPicPr>
            <a:picLocks noChangeAspect="1"/>
          </p:cNvPicPr>
          <p:nvPr/>
        </p:nvPicPr>
        <p:blipFill>
          <a:blip r:embed="rId4"/>
          <a:stretch>
            <a:fillRect/>
          </a:stretch>
        </p:blipFill>
        <p:spPr>
          <a:xfrm>
            <a:off x="7057559" y="1985459"/>
            <a:ext cx="5112508" cy="2176376"/>
          </a:xfrm>
          <a:prstGeom prst="rect">
            <a:avLst/>
          </a:prstGeom>
        </p:spPr>
      </p:pic>
      <p:pic>
        <p:nvPicPr>
          <p:cNvPr id="8" name="Picture 7">
            <a:extLst>
              <a:ext uri="{FF2B5EF4-FFF2-40B4-BE49-F238E27FC236}">
                <a16:creationId xmlns:a16="http://schemas.microsoft.com/office/drawing/2014/main" id="{9CD8BF36-8788-894D-048E-33DE66C619FA}"/>
              </a:ext>
            </a:extLst>
          </p:cNvPr>
          <p:cNvPicPr>
            <a:picLocks noChangeAspect="1"/>
          </p:cNvPicPr>
          <p:nvPr/>
        </p:nvPicPr>
        <p:blipFill>
          <a:blip r:embed="rId5"/>
          <a:stretch>
            <a:fillRect/>
          </a:stretch>
        </p:blipFill>
        <p:spPr>
          <a:xfrm>
            <a:off x="7137149" y="4151307"/>
            <a:ext cx="5032917" cy="1092764"/>
          </a:xfrm>
          <a:prstGeom prst="rect">
            <a:avLst/>
          </a:prstGeom>
        </p:spPr>
      </p:pic>
      <p:pic>
        <p:nvPicPr>
          <p:cNvPr id="11" name="Picture 10">
            <a:extLst>
              <a:ext uri="{FF2B5EF4-FFF2-40B4-BE49-F238E27FC236}">
                <a16:creationId xmlns:a16="http://schemas.microsoft.com/office/drawing/2014/main" id="{206EB1AA-0C67-A165-5DBC-B2988CF6DAC8}"/>
              </a:ext>
            </a:extLst>
          </p:cNvPr>
          <p:cNvPicPr>
            <a:picLocks noChangeAspect="1"/>
          </p:cNvPicPr>
          <p:nvPr/>
        </p:nvPicPr>
        <p:blipFill>
          <a:blip r:embed="rId6"/>
          <a:stretch>
            <a:fillRect/>
          </a:stretch>
        </p:blipFill>
        <p:spPr>
          <a:xfrm>
            <a:off x="7137150" y="0"/>
            <a:ext cx="5032917" cy="1985459"/>
          </a:xfrm>
          <a:prstGeom prst="rect">
            <a:avLst/>
          </a:prstGeom>
        </p:spPr>
      </p:pic>
      <p:grpSp>
        <p:nvGrpSpPr>
          <p:cNvPr id="4" name="Group 3">
            <a:extLst>
              <a:ext uri="{FF2B5EF4-FFF2-40B4-BE49-F238E27FC236}">
                <a16:creationId xmlns:a16="http://schemas.microsoft.com/office/drawing/2014/main" id="{00DE8AD3-029F-F439-55FF-B3256D7967F7}"/>
              </a:ext>
            </a:extLst>
          </p:cNvPr>
          <p:cNvGrpSpPr/>
          <p:nvPr/>
        </p:nvGrpSpPr>
        <p:grpSpPr>
          <a:xfrm>
            <a:off x="7199779" y="5375088"/>
            <a:ext cx="4970287" cy="1482912"/>
            <a:chOff x="4243896" y="3459124"/>
            <a:chExt cx="3407328" cy="1254245"/>
          </a:xfrm>
        </p:grpSpPr>
        <p:sp>
          <p:nvSpPr>
            <p:cNvPr id="5" name="TextBox 4">
              <a:extLst>
                <a:ext uri="{FF2B5EF4-FFF2-40B4-BE49-F238E27FC236}">
                  <a16:creationId xmlns:a16="http://schemas.microsoft.com/office/drawing/2014/main" id="{37110A25-2150-3892-DC85-5803616F4A4E}"/>
                </a:ext>
              </a:extLst>
            </p:cNvPr>
            <p:cNvSpPr txBox="1"/>
            <p:nvPr/>
          </p:nvSpPr>
          <p:spPr>
            <a:xfrm>
              <a:off x="4243896" y="3459124"/>
              <a:ext cx="2979436" cy="338554"/>
            </a:xfrm>
            <a:prstGeom prst="rect">
              <a:avLst/>
            </a:prstGeom>
            <a:noFill/>
          </p:spPr>
          <p:txBody>
            <a:bodyPr wrap="square">
              <a:spAutoFit/>
            </a:bodyPr>
            <a:lstStyle>
              <a:defPPr>
                <a:defRPr lang="en-US"/>
              </a:defPPr>
              <a:lvl1pPr>
                <a:spcAft>
                  <a:spcPts val="600"/>
                </a:spcAft>
                <a:defRPr sz="2400" b="1">
                  <a:solidFill>
                    <a:srgbClr val="000000"/>
                  </a:solidFill>
                  <a:latin typeface="Arial" panose="020B0604020202020204" pitchFamily="34" charset="0"/>
                  <a:cs typeface="Arial" panose="020B0604020202020204" pitchFamily="34" charset="0"/>
                </a:defRPr>
              </a:lvl1pPr>
            </a:lstStyle>
            <a:p>
              <a:r>
                <a:rPr lang="en-US" sz="1600"/>
                <a:t>Attraction visit guide</a:t>
              </a:r>
              <a:endParaRPr lang="en-GB" sz="1600"/>
            </a:p>
          </p:txBody>
        </p:sp>
        <p:pic>
          <p:nvPicPr>
            <p:cNvPr id="6" name="Picture 5">
              <a:extLst>
                <a:ext uri="{FF2B5EF4-FFF2-40B4-BE49-F238E27FC236}">
                  <a16:creationId xmlns:a16="http://schemas.microsoft.com/office/drawing/2014/main" id="{1678587F-3BDA-1631-5D5A-A8CEAC3BE9F2}"/>
                </a:ext>
              </a:extLst>
            </p:cNvPr>
            <p:cNvPicPr>
              <a:picLocks noChangeAspect="1"/>
            </p:cNvPicPr>
            <p:nvPr/>
          </p:nvPicPr>
          <p:blipFill>
            <a:blip r:embed="rId7"/>
            <a:stretch>
              <a:fillRect/>
            </a:stretch>
          </p:blipFill>
          <p:spPr>
            <a:xfrm>
              <a:off x="4243896" y="3779630"/>
              <a:ext cx="3407328" cy="933739"/>
            </a:xfrm>
            <a:prstGeom prst="rect">
              <a:avLst/>
            </a:prstGeom>
          </p:spPr>
        </p:pic>
      </p:grpSp>
    </p:spTree>
    <p:extLst>
      <p:ext uri="{BB962C8B-B14F-4D97-AF65-F5344CB8AC3E}">
        <p14:creationId xmlns:p14="http://schemas.microsoft.com/office/powerpoint/2010/main" val="3536490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98730" y="170385"/>
            <a:ext cx="7686819" cy="6445469"/>
          </a:xfrm>
          <a:prstGeom prst="rect">
            <a:avLst/>
          </a:prstGeom>
        </p:spPr>
      </p:pic>
      <p:pic>
        <p:nvPicPr>
          <p:cNvPr id="4" name="Picture 3" descr="A logo with a yellow and red circle&#10;&#10;Description automatically generated">
            <a:hlinkClick r:id="rId5"/>
            <a:extLst>
              <a:ext uri="{FF2B5EF4-FFF2-40B4-BE49-F238E27FC236}">
                <a16:creationId xmlns:a16="http://schemas.microsoft.com/office/drawing/2014/main" id="{E5079140-ED23-2AF4-B056-2F046427A44E}"/>
              </a:ext>
            </a:extLst>
          </p:cNvPr>
          <p:cNvPicPr>
            <a:picLocks noChangeAspect="1"/>
          </p:cNvPicPr>
          <p:nvPr/>
        </p:nvPicPr>
        <p:blipFill rotWithShape="1">
          <a:blip r:embed="rId6"/>
          <a:srcRect t="59813"/>
          <a:stretch/>
        </p:blipFill>
        <p:spPr>
          <a:xfrm>
            <a:off x="371081" y="1956145"/>
            <a:ext cx="5569922" cy="204738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SharedWithUsers xmlns="f668aa56-9285-4561-92d6-d6343913a899">
      <UserInfo>
        <DisplayName>Camille Cyn G. Isles</DisplayName>
        <AccountId>18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7" ma:contentTypeDescription="Create a new document." ma:contentTypeScope="" ma:versionID="30482bcb042da94300ab269d05646591">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43fff43ee8f6aa09ff18a5919b1d8d27"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B4FA3B7-46AE-48E3-B97A-5B2E336EE1F8}">
  <ds:schemaRefs>
    <ds:schemaRef ds:uri="http://schemas.microsoft.com/sharepoint/v3/contenttype/forms"/>
  </ds:schemaRefs>
</ds:datastoreItem>
</file>

<file path=customXml/itemProps2.xml><?xml version="1.0" encoding="utf-8"?>
<ds:datastoreItem xmlns:ds="http://schemas.openxmlformats.org/officeDocument/2006/customXml" ds:itemID="{62339BD7-50E4-4785-B9CE-130B93691D1D}">
  <ds:schemaRefs>
    <ds:schemaRef ds:uri="4d0bf39f-aee5-4194-a8cf-9eb94d977901"/>
    <ds:schemaRef ds:uri="c1fdd505-2570-46c2-bd04-3e0f2d874cf5"/>
    <ds:schemaRef ds:uri="f668aa56-9285-4561-92d6-d6343913a8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2654F65-6E1F-4318-8705-D93F59FE4D32}">
  <ds:schemaRefs>
    <ds:schemaRef ds:uri="4d0bf39f-aee5-4194-a8cf-9eb94d977901"/>
    <ds:schemaRef ds:uri="c1fdd505-2570-46c2-bd04-3e0f2d874cf5"/>
    <ds:schemaRef ds:uri="f668aa56-9285-4561-92d6-d6343913a8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CI_Powerpoint_Templates</Template>
  <Application>Microsoft Office PowerPoint</Application>
  <PresentationFormat>Widescreen</PresentationFormat>
  <Slides>6</Slides>
  <Notes>5</Notes>
  <HiddenSlides>0</HiddenSlides>
  <ScaleCrop>false</ScaleCrop>
  <HeadingPairs>
    <vt:vector size="4" baseType="variant">
      <vt:variant>
        <vt:lpstr>Theme</vt:lpstr>
      </vt:variant>
      <vt:variant>
        <vt:i4>5</vt:i4>
      </vt:variant>
      <vt:variant>
        <vt:lpstr>Slide Titles</vt:lpstr>
      </vt:variant>
      <vt:variant>
        <vt:i4>6</vt:i4>
      </vt:variant>
    </vt:vector>
  </HeadingPairs>
  <TitlesOfParts>
    <vt:vector size="11" baseType="lpstr">
      <vt:lpstr>blank</vt:lpstr>
      <vt:lpstr>1_DCI-Master</vt:lpstr>
      <vt:lpstr>2_DCI-Master</vt:lpstr>
      <vt:lpstr>3_DCI-Master</vt:lpstr>
      <vt:lpstr>4_DCI-Master</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revision>1</cp:revision>
  <cp:lastPrinted>2019-08-18T10:17:53Z</cp:lastPrinted>
  <dcterms:created xsi:type="dcterms:W3CDTF">2016-02-04T20:47:29Z</dcterms:created>
  <dcterms:modified xsi:type="dcterms:W3CDTF">2023-10-17T02:38: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ies>
</file>